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2"/>
  </p:notesMasterIdLst>
  <p:handoutMasterIdLst>
    <p:handoutMasterId r:id="rId13"/>
  </p:handoutMasterIdLst>
  <p:sldIdLst>
    <p:sldId id="313" r:id="rId5"/>
    <p:sldId id="268" r:id="rId6"/>
    <p:sldId id="318" r:id="rId7"/>
    <p:sldId id="321" r:id="rId8"/>
    <p:sldId id="319" r:id="rId9"/>
    <p:sldId id="320" r:id="rId10"/>
    <p:sldId id="283" r:id="rId11"/>
  </p:sldIdLst>
  <p:sldSz cx="12192000" cy="6858000"/>
  <p:notesSz cx="6858000" cy="9144000"/>
  <p:embeddedFontLst>
    <p:embeddedFont>
      <p:font typeface="EON Brix Sans" panose="020B0500000000000000" pitchFamily="34" charset="0"/>
      <p:regular r:id="rId14"/>
      <p:bold r:id="rId15"/>
      <p:italic r:id="rId16"/>
      <p:boldItalic r:id="rId17"/>
    </p:embeddedFont>
    <p:embeddedFont>
      <p:font typeface="EON Office Head" panose="020B0604020202020204" charset="0"/>
      <p:regular r:id="rId18"/>
    </p:embeddedFont>
  </p:embeddedFontLst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F2DE63D5-997A-4646-A377-4702673A728D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72" autoAdjust="0"/>
    <p:restoredTop sz="96197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91" d="100"/>
          <a:sy n="191" d="100"/>
        </p:scale>
        <p:origin x="1506" y="138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FEF15546-CF98-0ECD-3C30-AF7ADFEA53F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582542-B544-EC8B-8809-B734C385841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62F7A-CE52-49BC-9E83-8800BF7B5834}" type="datetimeFigureOut">
              <a:rPr lang="de-DE" smtClean="0"/>
              <a:t>15.07.2024</a:t>
            </a:fld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70DEA8-22DC-FE60-6D02-1EAA794313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BD74975-BE5F-023C-CBB6-73F33355B8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89E97C-5547-4CEC-9D2D-236DAC97C59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7786939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</a:defRPr>
            </a:lvl1pPr>
          </a:lstStyle>
          <a:p>
            <a:fld id="{03ADE0E1-2DAE-45F5-87B7-DB9E3D8054DE}" type="datetimeFigureOut">
              <a:rPr lang="de-DE" smtClean="0"/>
              <a:pPr/>
              <a:t>15.07.2024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</a:defRPr>
            </a:lvl1pPr>
          </a:lstStyle>
          <a:p>
            <a:fld id="{334F4A3F-64EC-49EC-B822-7C30E9B55BB5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0998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ON Brix Sans" panose="020B0504040000000000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3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sv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accent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8" name="E.ON Logo">
            <a:extLst>
              <a:ext uri="{FF2B5EF4-FFF2-40B4-BE49-F238E27FC236}">
                <a16:creationId xmlns:a16="http://schemas.microsoft.com/office/drawing/2014/main" id="{9F1F22E5-C4EF-53C3-8ADA-A36265609262}"/>
              </a:ext>
            </a:extLst>
          </p:cNvPr>
          <p:cNvSpPr/>
          <p:nvPr userDrawn="1"/>
        </p:nvSpPr>
        <p:spPr>
          <a:xfrm>
            <a:off x="9732026" y="5799031"/>
            <a:ext cx="1980549" cy="546206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rgbClr val="F21C0A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59D5AD2-71A5-4E3D-49E2-BB3180F015B3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479375" y="6050859"/>
            <a:ext cx="5616575" cy="360000"/>
          </a:xfrm>
        </p:spPr>
        <p:txBody>
          <a:bodyPr anchor="b"/>
          <a:lstStyle>
            <a:lvl1pPr algn="l">
              <a:lnSpc>
                <a:spcPct val="100000"/>
              </a:lnSpc>
              <a:defRPr sz="2000" b="1">
                <a:solidFill>
                  <a:schemeClr val="accent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15.07.20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8299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800A6A20-E873-F140-AC79-822BDF254684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Image">
            <a:extLst>
              <a:ext uri="{FF2B5EF4-FFF2-40B4-BE49-F238E27FC236}">
                <a16:creationId xmlns:a16="http://schemas.microsoft.com/office/drawing/2014/main" id="{C8A0EA80-6C56-3462-7962-5C9554E7B4D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574" y="1"/>
            <a:ext cx="5915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5436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5436613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AA3DA913-F435-7661-FD22-506A0DB96E7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46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56503FA3-8982-0240-96EB-0717438A640D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0000" y="6526211"/>
            <a:ext cx="3504000" cy="138499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Image">
            <a:extLst>
              <a:ext uri="{FF2B5EF4-FFF2-40B4-BE49-F238E27FC236}">
                <a16:creationId xmlns:a16="http://schemas.microsoft.com/office/drawing/2014/main" id="{16C5AC2D-3DAF-BE99-F11D-E9E48F025B4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44574" y="1"/>
            <a:ext cx="7847425" cy="6858002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3528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0AC4D8E-41CB-97B9-6D6F-3F32AFA5945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27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35" userDrawn="1">
          <p15:clr>
            <a:srgbClr val="FBAE40"/>
          </p15:clr>
        </p15:guide>
        <p15:guide id="3" orient="horz" pos="1139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A92F7AF8-436B-7E4C-B79C-9AFED39A31DF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1" y="1807198"/>
            <a:ext cx="6132514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dirty="0" err="1"/>
              <a:t>Two</a:t>
            </a:r>
            <a:r>
              <a:rPr lang="de-DE" dirty="0"/>
              <a:t> Images Slide</a:t>
            </a:r>
          </a:p>
        </p:txBody>
      </p:sp>
      <p:sp>
        <p:nvSpPr>
          <p:cNvPr id="10" name="Image">
            <a:extLst>
              <a:ext uri="{FF2B5EF4-FFF2-40B4-BE49-F238E27FC236}">
                <a16:creationId xmlns:a16="http://schemas.microsoft.com/office/drawing/2014/main" id="{936BB358-D532-3EBE-A492-9D8C8B48C9A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32512" y="1807198"/>
            <a:ext cx="6056175" cy="5050801"/>
          </a:xfrm>
          <a:solidFill>
            <a:schemeClr val="bg1">
              <a:lumMod val="8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7277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454086B4-C1C9-5E41-95C0-A15114FD0380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07198"/>
            <a:ext cx="12192000" cy="5050801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4FA448A-A5A1-F5E7-8038-8DB3FB9B2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34978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784C63FE-DE3B-3EE9-CC4E-6277924B19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7999"/>
          </a:xfrm>
          <a:solidFill>
            <a:schemeClr val="bg1">
              <a:lumMod val="7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 dirty="0"/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A870E17-585B-25EC-91D4-D2E89C010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9234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162AFC14-86FA-9D4E-B7BC-74F2486D8FF3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2099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BEAAC-B2AD-9E48-A8EA-4EB764E838A2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04601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Title only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background">
            <a:extLst>
              <a:ext uri="{FF2B5EF4-FFF2-40B4-BE49-F238E27FC236}">
                <a16:creationId xmlns:a16="http://schemas.microsoft.com/office/drawing/2014/main" id="{7A445AAD-DA93-44A7-A716-6A7756ED6265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D62BF7-8CBC-9E45-BB2F-9259532D43CD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176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 userDrawn="1">
          <p15:clr>
            <a:srgbClr val="FBAE40"/>
          </p15:clr>
        </p15:guide>
        <p15:guide id="2" orient="horz" pos="372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99B5F3EF-3489-EF41-92AE-C07F97C393BA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6700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4F111-9A96-A84D-87BF-789F902DF62C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10105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ußzeilenplatzhalter 5">
            <a:extLst>
              <a:ext uri="{FF2B5EF4-FFF2-40B4-BE49-F238E27FC236}">
                <a16:creationId xmlns:a16="http://schemas.microsoft.com/office/drawing/2014/main" id="{2E56A6B5-6638-1EBD-C8EC-8B45B057CC9C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F8125B0E-A430-BE60-8185-DF418040DB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5" name="Image">
            <a:extLst>
              <a:ext uri="{FF2B5EF4-FFF2-40B4-BE49-F238E27FC236}">
                <a16:creationId xmlns:a16="http://schemas.microsoft.com/office/drawing/2014/main" id="{2CA009F2-CDFA-1DA7-02B3-838E529006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2245658"/>
            <a:ext cx="5616575" cy="105634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000" b="0" i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5" y="512763"/>
            <a:ext cx="11233150" cy="1732896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format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4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8DBD0A4C-EFB4-6856-EBDF-A107B57D3B3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74359A26-92F9-701E-A601-E6AD22F61F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3ECB2BC4-109C-E1A1-A355-551DE1C33D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32025" y="5799032"/>
            <a:ext cx="1980551" cy="546206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74992822-E94C-1702-FD5A-3197C5DBF069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479375" y="6050859"/>
            <a:ext cx="5616000" cy="360000"/>
          </a:xfrm>
        </p:spPr>
        <p:txBody>
          <a:bodyPr anchor="b"/>
          <a:lstStyle>
            <a:lvl1pPr algn="l">
              <a:defRPr sz="2000" b="1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15.07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93295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0" y="0"/>
            <a:ext cx="7824788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99EB4-9340-0347-AF3C-D74FCC7E080E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83563" y="1807199"/>
            <a:ext cx="3529012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3563" y="512763"/>
            <a:ext cx="3528436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14" name="Chart Footnote/Source">
            <a:extLst>
              <a:ext uri="{FF2B5EF4-FFF2-40B4-BE49-F238E27FC236}">
                <a16:creationId xmlns:a16="http://schemas.microsoft.com/office/drawing/2014/main" id="{8388A654-05DA-46BD-2557-D2D34395D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0000" y="5759167"/>
            <a:ext cx="7092375" cy="151323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900" b="0"/>
            </a:lvl1pPr>
          </a:lstStyle>
          <a:p>
            <a:pPr lvl="0"/>
            <a:r>
              <a:rPr lang="de-DE" err="1"/>
              <a:t>Footnote</a:t>
            </a:r>
            <a:r>
              <a:rPr lang="de-DE"/>
              <a:t>/Source</a:t>
            </a:r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80573" y="1399160"/>
            <a:ext cx="7091801" cy="42620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Insert </a:t>
            </a:r>
            <a:r>
              <a:rPr lang="de-DE" dirty="0" err="1"/>
              <a:t>graph</a:t>
            </a:r>
            <a:r>
              <a:rPr lang="de-DE" dirty="0"/>
              <a:t>/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851410"/>
            <a:ext cx="7092375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0000" y="512763"/>
            <a:ext cx="7092375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3696840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55" userDrawn="1">
          <p15:clr>
            <a:srgbClr val="FBAE40"/>
          </p15:clr>
        </p15:guide>
        <p15:guide id="3" pos="4770" userDrawn="1">
          <p15:clr>
            <a:srgbClr val="FBAE40"/>
          </p15:clr>
        </p15:guide>
        <p15:guide id="4" orient="horz" pos="372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/Tab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background">
            <a:extLst>
              <a:ext uri="{FF2B5EF4-FFF2-40B4-BE49-F238E27FC236}">
                <a16:creationId xmlns:a16="http://schemas.microsoft.com/office/drawing/2014/main" id="{55C950C9-43EF-39C3-FF01-39DDE884BF08}"/>
              </a:ext>
            </a:extLst>
          </p:cNvPr>
          <p:cNvSpPr/>
          <p:nvPr userDrawn="1"/>
        </p:nvSpPr>
        <p:spPr>
          <a:xfrm>
            <a:off x="6275388" y="0"/>
            <a:ext cx="5916612" cy="6857999"/>
          </a:xfrm>
          <a:prstGeom prst="rect">
            <a:avLst/>
          </a:prstGeom>
          <a:solidFill>
            <a:srgbClr val="F8F5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89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FC8AF-567C-5F49-8E44-47B93969B66E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79998" y="1807199"/>
            <a:ext cx="4968301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999" y="512763"/>
            <a:ext cx="49683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743700" y="512762"/>
            <a:ext cx="4968300" cy="45142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Insert </a:t>
            </a:r>
            <a:r>
              <a:rPr lang="de-DE" err="1"/>
              <a:t>graph</a:t>
            </a:r>
            <a:r>
              <a:rPr lang="de-DE"/>
              <a:t>/</a:t>
            </a:r>
            <a:r>
              <a:rPr lang="de-DE" err="1"/>
              <a:t>table</a:t>
            </a:r>
            <a:endParaRPr lang="de-DE"/>
          </a:p>
        </p:txBody>
      </p:sp>
      <p:sp>
        <p:nvSpPr>
          <p:cNvPr id="12" name="Chart Subtitle">
            <a:extLst>
              <a:ext uri="{FF2B5EF4-FFF2-40B4-BE49-F238E27FC236}">
                <a16:creationId xmlns:a16="http://schemas.microsoft.com/office/drawing/2014/main" id="{1176B54B-A8DF-1176-D781-146DE34A5E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43299" y="5598356"/>
            <a:ext cx="4968702" cy="302647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de-DE" dirty="0"/>
              <a:t>Unit </a:t>
            </a:r>
            <a:r>
              <a:rPr lang="de-DE" dirty="0" err="1"/>
              <a:t>measure</a:t>
            </a:r>
            <a:endParaRPr lang="de-DE" dirty="0"/>
          </a:p>
        </p:txBody>
      </p:sp>
      <p:sp>
        <p:nvSpPr>
          <p:cNvPr id="11" name="Chart Title">
            <a:extLst>
              <a:ext uri="{FF2B5EF4-FFF2-40B4-BE49-F238E27FC236}">
                <a16:creationId xmlns:a16="http://schemas.microsoft.com/office/drawing/2014/main" id="{0C1D1F4B-9BF8-DFAD-1852-35C89F0628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43299" y="5259709"/>
            <a:ext cx="4968702" cy="302647"/>
          </a:xfrm>
        </p:spPr>
        <p:txBody>
          <a:bodyPr>
            <a:noAutofit/>
          </a:bodyPr>
          <a:lstStyle>
            <a:lvl1pPr>
              <a:defRPr b="1"/>
            </a:lvl1pPr>
          </a:lstStyle>
          <a:p>
            <a:pPr lvl="0"/>
            <a:r>
              <a:rPr lang="de-DE" dirty="0"/>
              <a:t>Chart title</a:t>
            </a:r>
          </a:p>
        </p:txBody>
      </p:sp>
    </p:spTree>
    <p:extLst>
      <p:ext uri="{BB962C8B-B14F-4D97-AF65-F5344CB8AC3E}">
        <p14:creationId xmlns:p14="http://schemas.microsoft.com/office/powerpoint/2010/main" val="2311415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orient="horz" pos="3725">
          <p15:clr>
            <a:srgbClr val="FBAE40"/>
          </p15:clr>
        </p15:guide>
        <p15:guide id="5" pos="4248" userDrawn="1">
          <p15:clr>
            <a:srgbClr val="FBAE40"/>
          </p15:clr>
        </p15:guide>
        <p15:guide id="6" pos="343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E264AB6-0912-0D16-C25D-0763240699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4000">
                <a:srgbClr val="EA1B0A"/>
              </a:gs>
              <a:gs pos="98000">
                <a:srgbClr val="961482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CDB24E5-50DF-AB48-84B3-580C5F8120F5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09647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Titel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C079F7D-79FF-41AB-124C-407E69AFC13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ECF06861-9D4E-FDEF-993D-96CA6FA8BC5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986D6CD-FB18-19C2-A75E-33EDA5AF8E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2331936"/>
            <a:ext cx="6444668" cy="1557151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1279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C2EE32AD-0752-744D-B6FE-A4C1BE5DF0E1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999" y="512763"/>
            <a:ext cx="11232575" cy="1819173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Titel des </a:t>
            </a:r>
            <a:r>
              <a:rPr lang="de-DE" dirty="0" err="1"/>
              <a:t>kapitels</a:t>
            </a:r>
            <a:endParaRPr lang="de-DE" dirty="0"/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1DE837E-4AC1-1B52-FD1F-FF041FBEE3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FBDEFF21-870F-0D9C-E524-8E876F8EEA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7E3AB64-3C77-CE4A-0503-7D8207B8D8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2331936"/>
            <a:ext cx="5976615" cy="1547626"/>
          </a:xfrm>
        </p:spPr>
        <p:txBody>
          <a:bodyPr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0551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4215170-0B6B-5D5C-3956-42FA14BA3E66}"/>
              </a:ext>
            </a:extLst>
          </p:cNvPr>
          <p:cNvSpPr/>
          <p:nvPr userDrawn="1"/>
        </p:nvSpPr>
        <p:spPr>
          <a:xfrm>
            <a:off x="0" y="-1"/>
            <a:ext cx="6275388" cy="6858000"/>
          </a:xfrm>
          <a:prstGeom prst="rect">
            <a:avLst/>
          </a:prstGeom>
          <a:gradFill flip="none" rotWithShape="1">
            <a:gsLst>
              <a:gs pos="6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D5E0F0B2-06FB-E449-A0E9-9299E25AD56D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 rtl="0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Image">
            <a:extLst>
              <a:ext uri="{FF2B5EF4-FFF2-40B4-BE49-F238E27FC236}">
                <a16:creationId xmlns:a16="http://schemas.microsoft.com/office/drawing/2014/main" id="{2D008FD9-6F72-6E1D-DD0B-A041002F0B3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388" y="0"/>
            <a:ext cx="5916612" cy="6857999"/>
          </a:xfrm>
          <a:solidFill>
            <a:srgbClr val="999999"/>
          </a:solidFill>
        </p:spPr>
        <p:txBody>
          <a:bodyPr tIns="360000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1" name="Number">
            <a:extLst>
              <a:ext uri="{FF2B5EF4-FFF2-40B4-BE49-F238E27FC236}">
                <a16:creationId xmlns:a16="http://schemas.microsoft.com/office/drawing/2014/main" id="{7700F044-4E4D-F142-70CF-491ED467D87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999" y="4134434"/>
            <a:ext cx="2520000" cy="2723566"/>
          </a:xfrm>
        </p:spPr>
        <p:txBody>
          <a:bodyPr wrap="none">
            <a:noAutofit/>
          </a:bodyPr>
          <a:lstStyle>
            <a:lvl1pPr>
              <a:defRPr sz="16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5436613" cy="2916236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70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Mastertitel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pic>
        <p:nvPicPr>
          <p:cNvPr id="6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16AC418-7DF3-FC4A-3FE3-EB675B6D8F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1DAE23C1-FA80-8A1B-7E1D-9EF6DB6801A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02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438835-2655-8DCA-404E-79083CC384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73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D488086D-EEA1-CF4E-B791-0B497494499F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contact</a:t>
            </a:r>
            <a:r>
              <a:rPr lang="de-DE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Edit </a:t>
            </a:r>
            <a:r>
              <a:rPr lang="de-DE" err="1"/>
              <a:t>name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4"/>
            <a:ext cx="9288001" cy="689469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1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3464D1A-B18E-D090-1C9D-E945B394C3E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E5083936-085C-48AA-540F-DA08BAD5EE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3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91DF28A4-A76B-1B84-FFC1-3596AF8A00A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FC7B165-BDDA-78D9-22D2-E6CC395C0CF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5" y="1202233"/>
            <a:ext cx="9288001" cy="635639"/>
          </a:xfrm>
        </p:spPr>
        <p:txBody>
          <a:bodyPr/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E.ON Logo">
            <a:extLst>
              <a:ext uri="{FF2B5EF4-FFF2-40B4-BE49-F238E27FC236}">
                <a16:creationId xmlns:a16="http://schemas.microsoft.com/office/drawing/2014/main" id="{404EC8AB-7FB9-DD09-32D3-29B6F4B7B61F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65157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mage">
            <a:extLst>
              <a:ext uri="{FF2B5EF4-FFF2-40B4-BE49-F238E27FC236}">
                <a16:creationId xmlns:a16="http://schemas.microsoft.com/office/drawing/2014/main" id="{80AC49D3-6A5A-9774-4531-1B486B7E76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vert="horz" lIns="0" tIns="0" rIns="0" bIns="0" rtlCol="0" anchor="ctr" anchorCtr="0">
            <a:noAutofit/>
          </a:bodyPr>
          <a:lstStyle>
            <a:lvl1pPr algn="ctr">
              <a:defRPr lang="de-DE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E1661ABF-B6C1-304A-B785-E576099AC068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5436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5436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11232575" cy="68947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69DA9C75-51A0-D606-2C11-77CC23F8A7A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0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562B9F09-1353-EC0F-B9A1-A281ABA9EDB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04437E0E-F58E-840C-4CA1-5A20337C18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23D6592-F4E3-3941-7D9D-531EB3FA89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79425" y="1202233"/>
            <a:ext cx="11233150" cy="679907"/>
          </a:xfrm>
        </p:spPr>
        <p:txBody>
          <a:bodyPr/>
          <a:lstStyle>
            <a:lvl1pPr>
              <a:lnSpc>
                <a:spcPct val="80000"/>
              </a:lnSpc>
              <a:spcAft>
                <a:spcPts val="0"/>
              </a:spcAft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platzhalter 10">
            <a:extLst>
              <a:ext uri="{FF2B5EF4-FFF2-40B4-BE49-F238E27FC236}">
                <a16:creationId xmlns:a16="http://schemas.microsoft.com/office/drawing/2014/main" id="{BE398898-6226-AF23-EBB4-8146744ED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878199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large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mage">
            <a:extLst>
              <a:ext uri="{FF2B5EF4-FFF2-40B4-BE49-F238E27FC236}">
                <a16:creationId xmlns:a16="http://schemas.microsoft.com/office/drawing/2014/main" id="{96537854-3AC1-5D8C-32C0-773FDACAA86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5E4262CA-21A9-4E4D-8E7E-5DF8639F2343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79425" y="1448780"/>
            <a:ext cx="11233150" cy="3545586"/>
          </a:xfrm>
        </p:spPr>
        <p:txBody>
          <a:bodyPr>
            <a:noAutofit/>
          </a:bodyPr>
          <a:lstStyle>
            <a:lvl1pPr algn="ctr">
              <a:lnSpc>
                <a:spcPct val="80000"/>
              </a:lnSpc>
              <a:defRPr sz="15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Closing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6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1FBC18BA-07D1-12C2-80F5-C358D6A587A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7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97D13E98-B776-B804-BDA0-5AA68AC6F5F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8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5B4FB576-C51D-63AF-406B-C62ACA7171D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4" name="Textplatzhalter 10">
            <a:extLst>
              <a:ext uri="{FF2B5EF4-FFF2-40B4-BE49-F238E27FC236}">
                <a16:creationId xmlns:a16="http://schemas.microsoft.com/office/drawing/2014/main" id="{9364ACD0-A96D-8FE8-D5F2-DC9811F7727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72722" y="5891142"/>
            <a:ext cx="1646555" cy="454095"/>
          </a:xfrm>
          <a:custGeom>
            <a:avLst/>
            <a:gdLst>
              <a:gd name="connsiteX0" fmla="*/ 738049 w 1980551"/>
              <a:gd name="connsiteY0" fmla="*/ 247957 h 546206"/>
              <a:gd name="connsiteX1" fmla="*/ 783101 w 1980551"/>
              <a:gd name="connsiteY1" fmla="*/ 252123 h 546206"/>
              <a:gd name="connsiteX2" fmla="*/ 807161 w 1980551"/>
              <a:gd name="connsiteY2" fmla="*/ 281851 h 546206"/>
              <a:gd name="connsiteX3" fmla="*/ 769527 w 1980551"/>
              <a:gd name="connsiteY3" fmla="*/ 359961 h 546206"/>
              <a:gd name="connsiteX4" fmla="*/ 659099 w 1980551"/>
              <a:gd name="connsiteY4" fmla="*/ 322656 h 546206"/>
              <a:gd name="connsiteX5" fmla="*/ 738049 w 1980551"/>
              <a:gd name="connsiteY5" fmla="*/ 247957 h 546206"/>
              <a:gd name="connsiteX6" fmla="*/ 625785 w 1980551"/>
              <a:gd name="connsiteY6" fmla="*/ 212484 h 546206"/>
              <a:gd name="connsiteX7" fmla="*/ 625785 w 1980551"/>
              <a:gd name="connsiteY7" fmla="*/ 212485 h 546206"/>
              <a:gd name="connsiteX8" fmla="*/ 625785 w 1980551"/>
              <a:gd name="connsiteY8" fmla="*/ 212484 h 546206"/>
              <a:gd name="connsiteX9" fmla="*/ 1118702 w 1980551"/>
              <a:gd name="connsiteY9" fmla="*/ 208403 h 546206"/>
              <a:gd name="connsiteX10" fmla="*/ 1024936 w 1980551"/>
              <a:gd name="connsiteY10" fmla="*/ 353550 h 546206"/>
              <a:gd name="connsiteX11" fmla="*/ 1035421 w 1980551"/>
              <a:gd name="connsiteY11" fmla="*/ 436907 h 546206"/>
              <a:gd name="connsiteX12" fmla="*/ 1144003 w 1980551"/>
              <a:gd name="connsiteY12" fmla="*/ 304584 h 546206"/>
              <a:gd name="connsiteX13" fmla="*/ 1155101 w 1980551"/>
              <a:gd name="connsiteY13" fmla="*/ 223559 h 546206"/>
              <a:gd name="connsiteX14" fmla="*/ 1118702 w 1980551"/>
              <a:gd name="connsiteY14" fmla="*/ 208404 h 546206"/>
              <a:gd name="connsiteX15" fmla="*/ 422544 w 1980551"/>
              <a:gd name="connsiteY15" fmla="*/ 140485 h 546206"/>
              <a:gd name="connsiteX16" fmla="*/ 244526 w 1980551"/>
              <a:gd name="connsiteY16" fmla="*/ 249208 h 546206"/>
              <a:gd name="connsiteX17" fmla="*/ 247611 w 1980551"/>
              <a:gd name="connsiteY17" fmla="*/ 254455 h 546206"/>
              <a:gd name="connsiteX18" fmla="*/ 424667 w 1980551"/>
              <a:gd name="connsiteY18" fmla="*/ 253871 h 546206"/>
              <a:gd name="connsiteX19" fmla="*/ 464769 w 1980551"/>
              <a:gd name="connsiteY19" fmla="*/ 199659 h 546206"/>
              <a:gd name="connsiteX20" fmla="*/ 460448 w 1980551"/>
              <a:gd name="connsiteY20" fmla="*/ 155940 h 546206"/>
              <a:gd name="connsiteX21" fmla="*/ 422544 w 1980551"/>
              <a:gd name="connsiteY21" fmla="*/ 140485 h 546206"/>
              <a:gd name="connsiteX22" fmla="*/ 1910799 w 1980551"/>
              <a:gd name="connsiteY22" fmla="*/ 116378 h 546206"/>
              <a:gd name="connsiteX23" fmla="*/ 1977462 w 1980551"/>
              <a:gd name="connsiteY23" fmla="*/ 177511 h 546206"/>
              <a:gd name="connsiteX24" fmla="*/ 1980551 w 1980551"/>
              <a:gd name="connsiteY24" fmla="*/ 203157 h 546206"/>
              <a:gd name="connsiteX25" fmla="*/ 1980542 w 1980551"/>
              <a:gd name="connsiteY25" fmla="*/ 203157 h 546206"/>
              <a:gd name="connsiteX26" fmla="*/ 1973147 w 1980551"/>
              <a:gd name="connsiteY26" fmla="*/ 252123 h 546206"/>
              <a:gd name="connsiteX27" fmla="*/ 1883075 w 1980551"/>
              <a:gd name="connsiteY27" fmla="*/ 523181 h 546206"/>
              <a:gd name="connsiteX28" fmla="*/ 1761533 w 1980551"/>
              <a:gd name="connsiteY28" fmla="*/ 517934 h 546206"/>
              <a:gd name="connsiteX29" fmla="*/ 1791151 w 1980551"/>
              <a:gd name="connsiteY29" fmla="*/ 408927 h 546206"/>
              <a:gd name="connsiteX30" fmla="*/ 1809039 w 1980551"/>
              <a:gd name="connsiteY30" fmla="*/ 256204 h 546206"/>
              <a:gd name="connsiteX31" fmla="*/ 1769561 w 1980551"/>
              <a:gd name="connsiteY31" fmla="*/ 261450 h 546206"/>
              <a:gd name="connsiteX32" fmla="*/ 1449374 w 1980551"/>
              <a:gd name="connsiteY32" fmla="*/ 521431 h 546206"/>
              <a:gd name="connsiteX33" fmla="*/ 1338334 w 1980551"/>
              <a:gd name="connsiteY33" fmla="*/ 516769 h 546206"/>
              <a:gd name="connsiteX34" fmla="*/ 1337097 w 1980551"/>
              <a:gd name="connsiteY34" fmla="*/ 502195 h 546206"/>
              <a:gd name="connsiteX35" fmla="*/ 1468499 w 1980551"/>
              <a:gd name="connsiteY35" fmla="*/ 148362 h 546206"/>
              <a:gd name="connsiteX36" fmla="*/ 1582635 w 1980551"/>
              <a:gd name="connsiteY36" fmla="*/ 143700 h 546206"/>
              <a:gd name="connsiteX37" fmla="*/ 1619025 w 1980551"/>
              <a:gd name="connsiteY37" fmla="*/ 212485 h 546206"/>
              <a:gd name="connsiteX38" fmla="*/ 1910799 w 1980551"/>
              <a:gd name="connsiteY38" fmla="*/ 116378 h 546206"/>
              <a:gd name="connsiteX39" fmla="*/ 1167615 w 1980551"/>
              <a:gd name="connsiteY39" fmla="*/ 103288 h 546206"/>
              <a:gd name="connsiteX40" fmla="*/ 1276642 w 1980551"/>
              <a:gd name="connsiteY40" fmla="*/ 116302 h 546206"/>
              <a:gd name="connsiteX41" fmla="*/ 1352520 w 1980551"/>
              <a:gd name="connsiteY41" fmla="*/ 202573 h 546206"/>
              <a:gd name="connsiteX42" fmla="*/ 1352520 w 1980551"/>
              <a:gd name="connsiteY42" fmla="*/ 202574 h 546206"/>
              <a:gd name="connsiteX43" fmla="*/ 1283424 w 1980551"/>
              <a:gd name="connsiteY43" fmla="*/ 396104 h 546206"/>
              <a:gd name="connsiteX44" fmla="*/ 1076135 w 1980551"/>
              <a:gd name="connsiteY44" fmla="*/ 534837 h 546206"/>
              <a:gd name="connsiteX45" fmla="*/ 822579 w 1980551"/>
              <a:gd name="connsiteY45" fmla="*/ 413591 h 546206"/>
              <a:gd name="connsiteX46" fmla="*/ 892297 w 1980551"/>
              <a:gd name="connsiteY46" fmla="*/ 239880 h 546206"/>
              <a:gd name="connsiteX47" fmla="*/ 1167615 w 1980551"/>
              <a:gd name="connsiteY47" fmla="*/ 103288 h 546206"/>
              <a:gd name="connsiteX48" fmla="*/ 496231 w 1980551"/>
              <a:gd name="connsiteY48" fmla="*/ 302 h 546206"/>
              <a:gd name="connsiteX49" fmla="*/ 620979 w 1980551"/>
              <a:gd name="connsiteY49" fmla="*/ 145853 h 546206"/>
              <a:gd name="connsiteX50" fmla="*/ 625785 w 1980551"/>
              <a:gd name="connsiteY50" fmla="*/ 212484 h 546206"/>
              <a:gd name="connsiteX51" fmla="*/ 617484 w 1980551"/>
              <a:gd name="connsiteY51" fmla="*/ 264746 h 546206"/>
              <a:gd name="connsiteX52" fmla="*/ 356805 w 1980551"/>
              <a:gd name="connsiteY52" fmla="*/ 359380 h 546206"/>
              <a:gd name="connsiteX53" fmla="*/ 195171 w 1980551"/>
              <a:gd name="connsiteY53" fmla="*/ 355884 h 546206"/>
              <a:gd name="connsiteX54" fmla="*/ 248228 w 1980551"/>
              <a:gd name="connsiteY54" fmla="*/ 440989 h 546206"/>
              <a:gd name="connsiteX55" fmla="*/ 414797 w 1980551"/>
              <a:gd name="connsiteY55" fmla="*/ 417670 h 546206"/>
              <a:gd name="connsiteX56" fmla="*/ 603576 w 1980551"/>
              <a:gd name="connsiteY56" fmla="*/ 468969 h 546206"/>
              <a:gd name="connsiteX57" fmla="*/ 446875 w 1980551"/>
              <a:gd name="connsiteY57" fmla="*/ 537754 h 546206"/>
              <a:gd name="connsiteX58" fmla="*/ 25517 w 1980551"/>
              <a:gd name="connsiteY58" fmla="*/ 251539 h 546206"/>
              <a:gd name="connsiteX59" fmla="*/ 453045 w 1980551"/>
              <a:gd name="connsiteY59" fmla="*/ 6131 h 546206"/>
              <a:gd name="connsiteX60" fmla="*/ 496231 w 1980551"/>
              <a:gd name="connsiteY60" fmla="*/ 302 h 546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</a:cxnLst>
            <a:rect l="l" t="t" r="r" b="b"/>
            <a:pathLst>
              <a:path w="1980551" h="546206">
                <a:moveTo>
                  <a:pt x="738049" y="247957"/>
                </a:moveTo>
                <a:cubicBezTo>
                  <a:pt x="751303" y="246818"/>
                  <a:pt x="766253" y="248171"/>
                  <a:pt x="783101" y="252123"/>
                </a:cubicBezTo>
                <a:cubicBezTo>
                  <a:pt x="799539" y="257324"/>
                  <a:pt x="803421" y="267613"/>
                  <a:pt x="807161" y="281851"/>
                </a:cubicBezTo>
                <a:cubicBezTo>
                  <a:pt x="793784" y="307306"/>
                  <a:pt x="796773" y="340698"/>
                  <a:pt x="769527" y="359961"/>
                </a:cubicBezTo>
                <a:cubicBezTo>
                  <a:pt x="732267" y="386303"/>
                  <a:pt x="638411" y="386375"/>
                  <a:pt x="659099" y="322656"/>
                </a:cubicBezTo>
                <a:cubicBezTo>
                  <a:pt x="673787" y="277225"/>
                  <a:pt x="698286" y="251375"/>
                  <a:pt x="738049" y="247957"/>
                </a:cubicBezTo>
                <a:close/>
                <a:moveTo>
                  <a:pt x="625785" y="212484"/>
                </a:moveTo>
                <a:lnTo>
                  <a:pt x="625785" y="212485"/>
                </a:lnTo>
                <a:lnTo>
                  <a:pt x="625785" y="212484"/>
                </a:lnTo>
                <a:close/>
                <a:moveTo>
                  <a:pt x="1118702" y="208403"/>
                </a:moveTo>
                <a:cubicBezTo>
                  <a:pt x="1047099" y="208403"/>
                  <a:pt x="1038373" y="302848"/>
                  <a:pt x="1024936" y="353550"/>
                </a:cubicBezTo>
                <a:cubicBezTo>
                  <a:pt x="1021554" y="372712"/>
                  <a:pt x="998853" y="436907"/>
                  <a:pt x="1035421" y="436907"/>
                </a:cubicBezTo>
                <a:cubicBezTo>
                  <a:pt x="1121512" y="453268"/>
                  <a:pt x="1129523" y="364043"/>
                  <a:pt x="1144003" y="304584"/>
                </a:cubicBezTo>
                <a:cubicBezTo>
                  <a:pt x="1149321" y="282710"/>
                  <a:pt x="1159881" y="246011"/>
                  <a:pt x="1155101" y="223559"/>
                </a:cubicBezTo>
                <a:cubicBezTo>
                  <a:pt x="1155101" y="206858"/>
                  <a:pt x="1130457" y="209520"/>
                  <a:pt x="1118702" y="208404"/>
                </a:cubicBezTo>
                <a:close/>
                <a:moveTo>
                  <a:pt x="422544" y="140485"/>
                </a:moveTo>
                <a:cubicBezTo>
                  <a:pt x="364403" y="152951"/>
                  <a:pt x="260427" y="234184"/>
                  <a:pt x="244526" y="249208"/>
                </a:cubicBezTo>
                <a:cubicBezTo>
                  <a:pt x="241865" y="254272"/>
                  <a:pt x="243876" y="252703"/>
                  <a:pt x="247611" y="254455"/>
                </a:cubicBezTo>
                <a:cubicBezTo>
                  <a:pt x="306610" y="254455"/>
                  <a:pt x="365748" y="253871"/>
                  <a:pt x="424667" y="253871"/>
                </a:cubicBezTo>
                <a:cubicBezTo>
                  <a:pt x="463469" y="247819"/>
                  <a:pt x="464769" y="236661"/>
                  <a:pt x="464769" y="199659"/>
                </a:cubicBezTo>
                <a:cubicBezTo>
                  <a:pt x="464769" y="185193"/>
                  <a:pt x="465395" y="169895"/>
                  <a:pt x="460448" y="155940"/>
                </a:cubicBezTo>
                <a:cubicBezTo>
                  <a:pt x="456213" y="139815"/>
                  <a:pt x="441925" y="136330"/>
                  <a:pt x="422544" y="140485"/>
                </a:cubicBezTo>
                <a:close/>
                <a:moveTo>
                  <a:pt x="1910799" y="116378"/>
                </a:moveTo>
                <a:cubicBezTo>
                  <a:pt x="1940083" y="121072"/>
                  <a:pt x="1963808" y="138810"/>
                  <a:pt x="1977462" y="177511"/>
                </a:cubicBezTo>
                <a:cubicBezTo>
                  <a:pt x="1979011" y="186251"/>
                  <a:pt x="1980551" y="194174"/>
                  <a:pt x="1980551" y="203157"/>
                </a:cubicBezTo>
                <a:lnTo>
                  <a:pt x="1980542" y="203157"/>
                </a:lnTo>
                <a:cubicBezTo>
                  <a:pt x="1980542" y="219464"/>
                  <a:pt x="1976924" y="236275"/>
                  <a:pt x="1973147" y="252123"/>
                </a:cubicBezTo>
                <a:cubicBezTo>
                  <a:pt x="1950874" y="345132"/>
                  <a:pt x="1914963" y="433618"/>
                  <a:pt x="1883075" y="523181"/>
                </a:cubicBezTo>
                <a:cubicBezTo>
                  <a:pt x="1853810" y="550829"/>
                  <a:pt x="1792977" y="535774"/>
                  <a:pt x="1761533" y="517934"/>
                </a:cubicBezTo>
                <a:cubicBezTo>
                  <a:pt x="1745808" y="503073"/>
                  <a:pt x="1784907" y="427251"/>
                  <a:pt x="1791151" y="408927"/>
                </a:cubicBezTo>
                <a:cubicBezTo>
                  <a:pt x="1800734" y="380784"/>
                  <a:pt x="1853078" y="277007"/>
                  <a:pt x="1809039" y="256204"/>
                </a:cubicBezTo>
                <a:cubicBezTo>
                  <a:pt x="1794878" y="256204"/>
                  <a:pt x="1783612" y="257956"/>
                  <a:pt x="1769561" y="261450"/>
                </a:cubicBezTo>
                <a:cubicBezTo>
                  <a:pt x="1637780" y="305043"/>
                  <a:pt x="1544241" y="431793"/>
                  <a:pt x="1449374" y="521431"/>
                </a:cubicBezTo>
                <a:cubicBezTo>
                  <a:pt x="1408254" y="540996"/>
                  <a:pt x="1378729" y="535989"/>
                  <a:pt x="1338334" y="516769"/>
                </a:cubicBezTo>
                <a:cubicBezTo>
                  <a:pt x="1334319" y="512983"/>
                  <a:pt x="1336264" y="506965"/>
                  <a:pt x="1337097" y="502195"/>
                </a:cubicBezTo>
                <a:cubicBezTo>
                  <a:pt x="1367664" y="381550"/>
                  <a:pt x="1416012" y="261935"/>
                  <a:pt x="1468499" y="148362"/>
                </a:cubicBezTo>
                <a:cubicBezTo>
                  <a:pt x="1476752" y="125175"/>
                  <a:pt x="1561600" y="133767"/>
                  <a:pt x="1582635" y="143700"/>
                </a:cubicBezTo>
                <a:cubicBezTo>
                  <a:pt x="1582635" y="169383"/>
                  <a:pt x="1579782" y="212485"/>
                  <a:pt x="1619025" y="212485"/>
                </a:cubicBezTo>
                <a:cubicBezTo>
                  <a:pt x="1685071" y="205607"/>
                  <a:pt x="1822948" y="102296"/>
                  <a:pt x="1910799" y="116378"/>
                </a:cubicBezTo>
                <a:close/>
                <a:moveTo>
                  <a:pt x="1167615" y="103288"/>
                </a:moveTo>
                <a:cubicBezTo>
                  <a:pt x="1204734" y="103504"/>
                  <a:pt x="1241814" y="108095"/>
                  <a:pt x="1276642" y="116302"/>
                </a:cubicBezTo>
                <a:cubicBezTo>
                  <a:pt x="1323794" y="132512"/>
                  <a:pt x="1348894" y="154205"/>
                  <a:pt x="1352520" y="202573"/>
                </a:cubicBezTo>
                <a:lnTo>
                  <a:pt x="1352520" y="202574"/>
                </a:lnTo>
                <a:cubicBezTo>
                  <a:pt x="1352520" y="263398"/>
                  <a:pt x="1312410" y="343309"/>
                  <a:pt x="1283424" y="396104"/>
                </a:cubicBezTo>
                <a:cubicBezTo>
                  <a:pt x="1237886" y="479183"/>
                  <a:pt x="1176296" y="528965"/>
                  <a:pt x="1076135" y="534837"/>
                </a:cubicBezTo>
                <a:cubicBezTo>
                  <a:pt x="987612" y="540025"/>
                  <a:pt x="787527" y="554548"/>
                  <a:pt x="822579" y="413591"/>
                </a:cubicBezTo>
                <a:cubicBezTo>
                  <a:pt x="837783" y="352570"/>
                  <a:pt x="871557" y="298807"/>
                  <a:pt x="892297" y="239880"/>
                </a:cubicBezTo>
                <a:cubicBezTo>
                  <a:pt x="944555" y="141356"/>
                  <a:pt x="1056258" y="102639"/>
                  <a:pt x="1167615" y="103288"/>
                </a:cubicBezTo>
                <a:close/>
                <a:moveTo>
                  <a:pt x="496231" y="302"/>
                </a:moveTo>
                <a:cubicBezTo>
                  <a:pt x="578563" y="-5507"/>
                  <a:pt x="610271" y="73564"/>
                  <a:pt x="620979" y="145853"/>
                </a:cubicBezTo>
                <a:lnTo>
                  <a:pt x="625785" y="212484"/>
                </a:lnTo>
                <a:lnTo>
                  <a:pt x="617484" y="264746"/>
                </a:lnTo>
                <a:cubicBezTo>
                  <a:pt x="586877" y="369512"/>
                  <a:pt x="480395" y="359915"/>
                  <a:pt x="356805" y="359380"/>
                </a:cubicBezTo>
                <a:cubicBezTo>
                  <a:pt x="303128" y="359171"/>
                  <a:pt x="248235" y="355884"/>
                  <a:pt x="195171" y="355884"/>
                </a:cubicBezTo>
                <a:cubicBezTo>
                  <a:pt x="175591" y="374648"/>
                  <a:pt x="232280" y="431567"/>
                  <a:pt x="248228" y="440989"/>
                </a:cubicBezTo>
                <a:cubicBezTo>
                  <a:pt x="302667" y="473033"/>
                  <a:pt x="370974" y="459274"/>
                  <a:pt x="414797" y="417670"/>
                </a:cubicBezTo>
                <a:cubicBezTo>
                  <a:pt x="438341" y="417670"/>
                  <a:pt x="691052" y="386460"/>
                  <a:pt x="603576" y="468969"/>
                </a:cubicBezTo>
                <a:cubicBezTo>
                  <a:pt x="561238" y="504563"/>
                  <a:pt x="501337" y="525587"/>
                  <a:pt x="446875" y="537754"/>
                </a:cubicBezTo>
                <a:cubicBezTo>
                  <a:pt x="273588" y="576475"/>
                  <a:pt x="-100733" y="482347"/>
                  <a:pt x="25517" y="251539"/>
                </a:cubicBezTo>
                <a:cubicBezTo>
                  <a:pt x="111822" y="117325"/>
                  <a:pt x="298753" y="43934"/>
                  <a:pt x="453045" y="6131"/>
                </a:cubicBezTo>
                <a:cubicBezTo>
                  <a:pt x="467412" y="3415"/>
                  <a:pt x="481605" y="1326"/>
                  <a:pt x="496231" y="302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800"/>
            </a:lvl1pPr>
            <a:lvl5pPr>
              <a:defRPr/>
            </a:lvl5pPr>
          </a:lstStyle>
          <a:p>
            <a:pPr lvl="0"/>
            <a:r>
              <a:rPr lang="de-DE" dirty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1152379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chart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9DC9A-FBE8-D440-F9E1-B90DCE3E7EC9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C25F2DB8-05D3-784A-98E0-7A06DBBA287E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57627D1-B40C-E389-8DD5-0DD1E92EA48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65A4D41-9BDD-B66B-9FB7-CE532CA1E31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Image">
            <a:extLst>
              <a:ext uri="{FF2B5EF4-FFF2-40B4-BE49-F238E27FC236}">
                <a16:creationId xmlns:a16="http://schemas.microsoft.com/office/drawing/2014/main" id="{3A04AC39-7148-C419-6962-E080928AA6A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2000" y="0"/>
            <a:ext cx="7620000" cy="6858000"/>
          </a:xfrm>
          <a:solidFill>
            <a:srgbClr val="999999"/>
          </a:solidFill>
        </p:spPr>
        <p:txBody>
          <a:bodyPr tIns="0" anchor="ctr" anchorCtr="0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9" name="Contact information">
            <a:extLst>
              <a:ext uri="{FF2B5EF4-FFF2-40B4-BE49-F238E27FC236}">
                <a16:creationId xmlns:a16="http://schemas.microsoft.com/office/drawing/2014/main" id="{711219D6-CE9D-0F40-A923-24FB0FE247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000" y="3212976"/>
            <a:ext cx="3528000" cy="235385"/>
          </a:xfrm>
        </p:spPr>
        <p:txBody>
          <a:bodyPr>
            <a:noAutofit/>
          </a:bodyPr>
          <a:lstStyle>
            <a:lvl1pPr>
              <a:defRPr sz="140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contact</a:t>
            </a:r>
            <a:r>
              <a:rPr lang="de-DE" dirty="0"/>
              <a:t> Information</a:t>
            </a:r>
          </a:p>
        </p:txBody>
      </p:sp>
      <p:sp>
        <p:nvSpPr>
          <p:cNvPr id="8" name="Name">
            <a:extLst>
              <a:ext uri="{FF2B5EF4-FFF2-40B4-BE49-F238E27FC236}">
                <a16:creationId xmlns:a16="http://schemas.microsoft.com/office/drawing/2014/main" id="{33495D4A-F00D-763A-E57E-AF2EFD0C6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2865600"/>
            <a:ext cx="3528000" cy="302647"/>
          </a:xfrm>
        </p:spPr>
        <p:txBody>
          <a:bodyPr>
            <a:noAutofit/>
          </a:bodyPr>
          <a:lstStyle>
            <a:lvl1pPr>
              <a:defRPr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Edit </a:t>
            </a:r>
            <a:r>
              <a:rPr lang="de-DE" dirty="0" err="1"/>
              <a:t>nam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9906940-4A55-7491-73FA-F7C757B94F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00" y="512763"/>
            <a:ext cx="3528000" cy="2243691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5400">
                <a:solidFill>
                  <a:schemeClr val="accent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de-DE" dirty="0"/>
              <a:t>Edit </a:t>
            </a:r>
            <a:r>
              <a:rPr lang="de-DE" dirty="0" err="1"/>
              <a:t>closing</a:t>
            </a:r>
            <a:r>
              <a:rPr lang="de-DE" dirty="0"/>
              <a:t> </a:t>
            </a:r>
            <a:r>
              <a:rPr lang="de-DE" dirty="0" err="1"/>
              <a:t>statement</a:t>
            </a:r>
            <a:endParaRPr lang="de-DE" dirty="0"/>
          </a:p>
        </p:txBody>
      </p:sp>
      <p:pic>
        <p:nvPicPr>
          <p:cNvPr id="10" name="MIO_AGENDA_LAST_SLIDE" descr="Schließen mit einfarbiger Füllung" hidden="1">
            <a:extLst>
              <a:ext uri="{FF2B5EF4-FFF2-40B4-BE49-F238E27FC236}">
                <a16:creationId xmlns:a16="http://schemas.microsoft.com/office/drawing/2014/main" id="{B448BCEC-C644-97C8-EDFE-A5318AB3EA7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1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B00E2E16-40EB-598C-C85E-F2E8A9EE055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12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D64DA533-F61A-5EEF-7809-39495E4A5F6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6" name="E.ON Logo">
            <a:extLst>
              <a:ext uri="{FF2B5EF4-FFF2-40B4-BE49-F238E27FC236}">
                <a16:creationId xmlns:a16="http://schemas.microsoft.com/office/drawing/2014/main" id="{987A17B9-31C0-7037-5B47-DBECF4F8697D}"/>
              </a:ext>
            </a:extLst>
          </p:cNvPr>
          <p:cNvSpPr/>
          <p:nvPr userDrawn="1"/>
        </p:nvSpPr>
        <p:spPr>
          <a:xfrm>
            <a:off x="479425" y="5891141"/>
            <a:ext cx="1646555" cy="454095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accent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23697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71EDD8-CE41-5F3A-1222-8BB0B52C85ED}"/>
              </a:ext>
            </a:extLst>
          </p:cNvPr>
          <p:cNvSpPr/>
          <p:nvPr userDrawn="1"/>
        </p:nvSpPr>
        <p:spPr>
          <a:xfrm>
            <a:off x="0" y="-1"/>
            <a:ext cx="4572000" cy="6858000"/>
          </a:xfrm>
          <a:prstGeom prst="rect">
            <a:avLst/>
          </a:prstGeom>
          <a:gradFill flip="none" rotWithShape="1">
            <a:gsLst>
              <a:gs pos="58000">
                <a:srgbClr val="EA1B0A"/>
              </a:gs>
              <a:gs pos="100000">
                <a:srgbClr val="961482"/>
              </a:gs>
            </a:gsLst>
            <a:path path="circle">
              <a:fillToRect t="100000" r="100000"/>
            </a:path>
            <a:tileRect l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 defTabSz="540000">
              <a:lnSpc>
                <a:spcPct val="120000"/>
              </a:lnSpc>
              <a:spcAft>
                <a:spcPts val="400"/>
              </a:spcAft>
            </a:pPr>
            <a:endParaRPr lang="en-US" sz="140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5674F3-461B-A0D8-BD43-B0E188D4749E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 algn="r">
              <a:defRPr sz="100">
                <a:noFill/>
              </a:defRPr>
            </a:lvl1pPr>
          </a:lstStyle>
          <a:p>
            <a:r>
              <a:rPr lang="de-DE"/>
              <a:t>New E.ON PowerPoint Mas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A93D36D-170F-57E0-AC70-4E68245359AE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12192000" y="6858000"/>
            <a:ext cx="0" cy="0"/>
          </a:xfrm>
        </p:spPr>
        <p:txBody>
          <a:bodyPr anchor="b"/>
          <a:lstStyle>
            <a:lvl1pPr>
              <a:defRPr sz="100">
                <a:noFill/>
              </a:defRPr>
            </a:lvl1pPr>
          </a:lstStyle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15" name="Image">
            <a:extLst>
              <a:ext uri="{FF2B5EF4-FFF2-40B4-BE49-F238E27FC236}">
                <a16:creationId xmlns:a16="http://schemas.microsoft.com/office/drawing/2014/main" id="{B8FDE1EB-2770-97AC-33D1-F5045924E2A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0" y="0"/>
            <a:ext cx="7620000" cy="6858000"/>
          </a:xfrm>
          <a:solidFill>
            <a:schemeClr val="bg1">
              <a:lumMod val="75000"/>
            </a:schemeClr>
          </a:solidFill>
        </p:spPr>
        <p:txBody>
          <a:bodyPr tIns="0" anchor="ctr" anchorCtr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DE89EDF3-6591-5B1A-CD1F-6369A64261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2407206"/>
            <a:ext cx="3708362" cy="5645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416867C0-5332-AE90-6140-EE0C9C14E7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4" y="512764"/>
            <a:ext cx="3708363" cy="1777652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lnSpc>
                <a:spcPct val="80000"/>
              </a:lnSpc>
              <a:defRPr sz="4400">
                <a:solidFill>
                  <a:schemeClr val="bg1"/>
                </a:solidFill>
                <a:latin typeface="EON Office Head" pitchFamily="2" charset="0"/>
                <a:cs typeface="EON Office Head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pic>
        <p:nvPicPr>
          <p:cNvPr id="8" name="MIO_AGENDA_IGNORE_CHAPTER_REFERENCE" descr="Schließen mit einfarbiger Füllung" hidden="1">
            <a:extLst>
              <a:ext uri="{FF2B5EF4-FFF2-40B4-BE49-F238E27FC236}">
                <a16:creationId xmlns:a16="http://schemas.microsoft.com/office/drawing/2014/main" id="{1E5B8264-4460-C20B-5FD0-7B628F2BF20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pic>
        <p:nvPicPr>
          <p:cNvPr id="9" name="MIO_AGENDA_IGNORE_NAVIGATION" descr="Schließen mit einfarbiger Füllung" hidden="1">
            <a:extLst>
              <a:ext uri="{FF2B5EF4-FFF2-40B4-BE49-F238E27FC236}">
                <a16:creationId xmlns:a16="http://schemas.microsoft.com/office/drawing/2014/main" id="{4BA2485C-9557-F4C3-55A1-F87F6372EBF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012000" y="0"/>
            <a:ext cx="180000" cy="180000"/>
          </a:xfrm>
          <a:prstGeom prst="rect">
            <a:avLst/>
          </a:prstGeom>
        </p:spPr>
      </p:pic>
      <p:sp>
        <p:nvSpPr>
          <p:cNvPr id="10" name="E.ON Logo">
            <a:extLst>
              <a:ext uri="{FF2B5EF4-FFF2-40B4-BE49-F238E27FC236}">
                <a16:creationId xmlns:a16="http://schemas.microsoft.com/office/drawing/2014/main" id="{778D5CDF-1202-A4A2-F064-431B6EFF7421}"/>
              </a:ext>
            </a:extLst>
          </p:cNvPr>
          <p:cNvSpPr/>
          <p:nvPr userDrawn="1"/>
        </p:nvSpPr>
        <p:spPr>
          <a:xfrm>
            <a:off x="479425" y="5854729"/>
            <a:ext cx="1778585" cy="490507"/>
          </a:xfrm>
          <a:custGeom>
            <a:avLst/>
            <a:gdLst>
              <a:gd name="connsiteX0" fmla="*/ 1202810 w 1761324"/>
              <a:gd name="connsiteY0" fmla="*/ 180152 h 485747"/>
              <a:gd name="connsiteX1" fmla="*/ 1141362 w 1761324"/>
              <a:gd name="connsiteY1" fmla="*/ 352260 h 485747"/>
              <a:gd name="connsiteX2" fmla="*/ 957018 w 1761324"/>
              <a:gd name="connsiteY2" fmla="*/ 475637 h 485747"/>
              <a:gd name="connsiteX3" fmla="*/ 731528 w 1761324"/>
              <a:gd name="connsiteY3" fmla="*/ 367812 h 485747"/>
              <a:gd name="connsiteX4" fmla="*/ 793529 w 1761324"/>
              <a:gd name="connsiteY4" fmla="*/ 213329 h 485747"/>
              <a:gd name="connsiteX5" fmla="*/ 1135331 w 1761324"/>
              <a:gd name="connsiteY5" fmla="*/ 103429 h 485747"/>
              <a:gd name="connsiteX6" fmla="*/ 1202810 w 1761324"/>
              <a:gd name="connsiteY6" fmla="*/ 180151 h 485747"/>
              <a:gd name="connsiteX7" fmla="*/ 1202810 w 1761324"/>
              <a:gd name="connsiteY7" fmla="*/ 180152 h 485747"/>
              <a:gd name="connsiteX8" fmla="*/ 994873 w 1761324"/>
              <a:gd name="connsiteY8" fmla="*/ 185336 h 485747"/>
              <a:gd name="connsiteX9" fmla="*/ 911486 w 1761324"/>
              <a:gd name="connsiteY9" fmla="*/ 314417 h 485747"/>
              <a:gd name="connsiteX10" fmla="*/ 920810 w 1761324"/>
              <a:gd name="connsiteY10" fmla="*/ 388547 h 485747"/>
              <a:gd name="connsiteX11" fmla="*/ 1017374 w 1761324"/>
              <a:gd name="connsiteY11" fmla="*/ 270871 h 485747"/>
              <a:gd name="connsiteX12" fmla="*/ 1027243 w 1761324"/>
              <a:gd name="connsiteY12" fmla="*/ 198814 h 485747"/>
              <a:gd name="connsiteX13" fmla="*/ 994873 w 1761324"/>
              <a:gd name="connsiteY13" fmla="*/ 185337 h 485747"/>
              <a:gd name="connsiteX14" fmla="*/ 994873 w 1761324"/>
              <a:gd name="connsiteY14" fmla="*/ 185336 h 485747"/>
              <a:gd name="connsiteX15" fmla="*/ 556517 w 1761324"/>
              <a:gd name="connsiteY15" fmla="*/ 188965 h 485747"/>
              <a:gd name="connsiteX16" fmla="*/ 317310 w 1761324"/>
              <a:gd name="connsiteY16" fmla="*/ 319601 h 485747"/>
              <a:gd name="connsiteX17" fmla="*/ 173567 w 1761324"/>
              <a:gd name="connsiteY17" fmla="*/ 316492 h 485747"/>
              <a:gd name="connsiteX18" fmla="*/ 220751 w 1761324"/>
              <a:gd name="connsiteY18" fmla="*/ 392177 h 485747"/>
              <a:gd name="connsiteX19" fmla="*/ 368883 w 1761324"/>
              <a:gd name="connsiteY19" fmla="*/ 371439 h 485747"/>
              <a:gd name="connsiteX20" fmla="*/ 536766 w 1761324"/>
              <a:gd name="connsiteY20" fmla="*/ 417060 h 485747"/>
              <a:gd name="connsiteX21" fmla="*/ 397410 w 1761324"/>
              <a:gd name="connsiteY21" fmla="*/ 478231 h 485747"/>
              <a:gd name="connsiteX22" fmla="*/ 22692 w 1761324"/>
              <a:gd name="connsiteY22" fmla="*/ 223697 h 485747"/>
              <a:gd name="connsiteX23" fmla="*/ 402897 w 1761324"/>
              <a:gd name="connsiteY23" fmla="*/ 5453 h 485747"/>
              <a:gd name="connsiteX24" fmla="*/ 441303 w 1761324"/>
              <a:gd name="connsiteY24" fmla="*/ 269 h 485747"/>
              <a:gd name="connsiteX25" fmla="*/ 556517 w 1761324"/>
              <a:gd name="connsiteY25" fmla="*/ 188966 h 485747"/>
              <a:gd name="connsiteX26" fmla="*/ 556517 w 1761324"/>
              <a:gd name="connsiteY26" fmla="*/ 188965 h 485747"/>
              <a:gd name="connsiteX27" fmla="*/ 413323 w 1761324"/>
              <a:gd name="connsiteY27" fmla="*/ 177560 h 485747"/>
              <a:gd name="connsiteX28" fmla="*/ 409481 w 1761324"/>
              <a:gd name="connsiteY28" fmla="*/ 138680 h 485747"/>
              <a:gd name="connsiteX29" fmla="*/ 217459 w 1761324"/>
              <a:gd name="connsiteY29" fmla="*/ 221624 h 485747"/>
              <a:gd name="connsiteX30" fmla="*/ 220202 w 1761324"/>
              <a:gd name="connsiteY30" fmla="*/ 226290 h 485747"/>
              <a:gd name="connsiteX31" fmla="*/ 377660 w 1761324"/>
              <a:gd name="connsiteY31" fmla="*/ 225771 h 485747"/>
              <a:gd name="connsiteX32" fmla="*/ 413323 w 1761324"/>
              <a:gd name="connsiteY32" fmla="*/ 177560 h 485747"/>
              <a:gd name="connsiteX33" fmla="*/ 413323 w 1761324"/>
              <a:gd name="connsiteY33" fmla="*/ 177560 h 485747"/>
              <a:gd name="connsiteX34" fmla="*/ 717816 w 1761324"/>
              <a:gd name="connsiteY34" fmla="*/ 250654 h 485747"/>
              <a:gd name="connsiteX35" fmla="*/ 684348 w 1761324"/>
              <a:gd name="connsiteY35" fmla="*/ 320118 h 485747"/>
              <a:gd name="connsiteX36" fmla="*/ 586143 w 1761324"/>
              <a:gd name="connsiteY36" fmla="*/ 286942 h 485747"/>
              <a:gd name="connsiteX37" fmla="*/ 696419 w 1761324"/>
              <a:gd name="connsiteY37" fmla="*/ 224216 h 485747"/>
              <a:gd name="connsiteX38" fmla="*/ 717816 w 1761324"/>
              <a:gd name="connsiteY38" fmla="*/ 250654 h 485747"/>
              <a:gd name="connsiteX39" fmla="*/ 717816 w 1761324"/>
              <a:gd name="connsiteY39" fmla="*/ 250654 h 485747"/>
              <a:gd name="connsiteX40" fmla="*/ 1761317 w 1761324"/>
              <a:gd name="connsiteY40" fmla="*/ 180670 h 485747"/>
              <a:gd name="connsiteX41" fmla="*/ 1754740 w 1761324"/>
              <a:gd name="connsiteY41" fmla="*/ 224216 h 485747"/>
              <a:gd name="connsiteX42" fmla="*/ 1674638 w 1761324"/>
              <a:gd name="connsiteY42" fmla="*/ 465271 h 485747"/>
              <a:gd name="connsiteX43" fmla="*/ 1566550 w 1761324"/>
              <a:gd name="connsiteY43" fmla="*/ 460605 h 485747"/>
              <a:gd name="connsiteX44" fmla="*/ 1592889 w 1761324"/>
              <a:gd name="connsiteY44" fmla="*/ 363664 h 485747"/>
              <a:gd name="connsiteX45" fmla="*/ 1608797 w 1761324"/>
              <a:gd name="connsiteY45" fmla="*/ 227846 h 485747"/>
              <a:gd name="connsiteX46" fmla="*/ 1573689 w 1761324"/>
              <a:gd name="connsiteY46" fmla="*/ 232511 h 485747"/>
              <a:gd name="connsiteX47" fmla="*/ 1288943 w 1761324"/>
              <a:gd name="connsiteY47" fmla="*/ 463715 h 485747"/>
              <a:gd name="connsiteX48" fmla="*/ 1190194 w 1761324"/>
              <a:gd name="connsiteY48" fmla="*/ 459569 h 485747"/>
              <a:gd name="connsiteX49" fmla="*/ 1189094 w 1761324"/>
              <a:gd name="connsiteY49" fmla="*/ 446608 h 485747"/>
              <a:gd name="connsiteX50" fmla="*/ 1305951 w 1761324"/>
              <a:gd name="connsiteY50" fmla="*/ 131941 h 485747"/>
              <a:gd name="connsiteX51" fmla="*/ 1407454 w 1761324"/>
              <a:gd name="connsiteY51" fmla="*/ 127795 h 485747"/>
              <a:gd name="connsiteX52" fmla="*/ 1439816 w 1761324"/>
              <a:gd name="connsiteY52" fmla="*/ 188966 h 485747"/>
              <a:gd name="connsiteX53" fmla="*/ 1758578 w 1761324"/>
              <a:gd name="connsiteY53" fmla="*/ 157863 h 485747"/>
              <a:gd name="connsiteX54" fmla="*/ 1761325 w 1761324"/>
              <a:gd name="connsiteY54" fmla="*/ 180670 h 485747"/>
              <a:gd name="connsiteX55" fmla="*/ 1761317 w 1761324"/>
              <a:gd name="connsiteY55" fmla="*/ 180670 h 4857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761324" h="485747">
                <a:moveTo>
                  <a:pt x="1202810" y="180152"/>
                </a:moveTo>
                <a:cubicBezTo>
                  <a:pt x="1202810" y="234243"/>
                  <a:pt x="1167140" y="305309"/>
                  <a:pt x="1141362" y="352260"/>
                </a:cubicBezTo>
                <a:cubicBezTo>
                  <a:pt x="1100865" y="426143"/>
                  <a:pt x="1046092" y="470415"/>
                  <a:pt x="957018" y="475637"/>
                </a:cubicBezTo>
                <a:cubicBezTo>
                  <a:pt x="878293" y="480251"/>
                  <a:pt x="700356" y="493166"/>
                  <a:pt x="731528" y="367812"/>
                </a:cubicBezTo>
                <a:cubicBezTo>
                  <a:pt x="745049" y="313545"/>
                  <a:pt x="775084" y="265733"/>
                  <a:pt x="793529" y="213329"/>
                </a:cubicBezTo>
                <a:cubicBezTo>
                  <a:pt x="855493" y="96504"/>
                  <a:pt x="1011440" y="74234"/>
                  <a:pt x="1135331" y="103429"/>
                </a:cubicBezTo>
                <a:cubicBezTo>
                  <a:pt x="1177264" y="117845"/>
                  <a:pt x="1199585" y="137137"/>
                  <a:pt x="1202810" y="180151"/>
                </a:cubicBezTo>
                <a:lnTo>
                  <a:pt x="1202810" y="180152"/>
                </a:lnTo>
                <a:close/>
                <a:moveTo>
                  <a:pt x="994873" y="185336"/>
                </a:moveTo>
                <a:cubicBezTo>
                  <a:pt x="931196" y="185336"/>
                  <a:pt x="923436" y="269327"/>
                  <a:pt x="911486" y="314417"/>
                </a:cubicBezTo>
                <a:cubicBezTo>
                  <a:pt x="908478" y="331458"/>
                  <a:pt x="888290" y="388547"/>
                  <a:pt x="920810" y="388547"/>
                </a:cubicBezTo>
                <a:cubicBezTo>
                  <a:pt x="997372" y="403097"/>
                  <a:pt x="1004496" y="323748"/>
                  <a:pt x="1017374" y="270871"/>
                </a:cubicBezTo>
                <a:cubicBezTo>
                  <a:pt x="1022103" y="251418"/>
                  <a:pt x="1031494" y="218781"/>
                  <a:pt x="1027243" y="198814"/>
                </a:cubicBezTo>
                <a:cubicBezTo>
                  <a:pt x="1027243" y="183962"/>
                  <a:pt x="1005327" y="186329"/>
                  <a:pt x="994873" y="185337"/>
                </a:cubicBezTo>
                <a:lnTo>
                  <a:pt x="994873" y="185336"/>
                </a:lnTo>
                <a:close/>
                <a:moveTo>
                  <a:pt x="556517" y="188965"/>
                </a:moveTo>
                <a:cubicBezTo>
                  <a:pt x="548660" y="331215"/>
                  <a:pt x="442921" y="320145"/>
                  <a:pt x="317310" y="319601"/>
                </a:cubicBezTo>
                <a:cubicBezTo>
                  <a:pt x="269574" y="319415"/>
                  <a:pt x="220757" y="316492"/>
                  <a:pt x="173567" y="316492"/>
                </a:cubicBezTo>
                <a:cubicBezTo>
                  <a:pt x="156154" y="333179"/>
                  <a:pt x="206568" y="383798"/>
                  <a:pt x="220751" y="392177"/>
                </a:cubicBezTo>
                <a:cubicBezTo>
                  <a:pt x="269164" y="420674"/>
                  <a:pt x="329910" y="408438"/>
                  <a:pt x="368883" y="371439"/>
                </a:cubicBezTo>
                <a:cubicBezTo>
                  <a:pt x="389821" y="371439"/>
                  <a:pt x="614559" y="343684"/>
                  <a:pt x="536766" y="417060"/>
                </a:cubicBezTo>
                <a:cubicBezTo>
                  <a:pt x="499114" y="448714"/>
                  <a:pt x="445844" y="467411"/>
                  <a:pt x="397410" y="478231"/>
                </a:cubicBezTo>
                <a:cubicBezTo>
                  <a:pt x="243304" y="512666"/>
                  <a:pt x="-89584" y="428957"/>
                  <a:pt x="22692" y="223697"/>
                </a:cubicBezTo>
                <a:cubicBezTo>
                  <a:pt x="99444" y="104339"/>
                  <a:pt x="265683" y="39072"/>
                  <a:pt x="402897" y="5453"/>
                </a:cubicBezTo>
                <a:cubicBezTo>
                  <a:pt x="415674" y="3038"/>
                  <a:pt x="428296" y="1180"/>
                  <a:pt x="441303" y="269"/>
                </a:cubicBezTo>
                <a:cubicBezTo>
                  <a:pt x="538928" y="-6619"/>
                  <a:pt x="556517" y="120689"/>
                  <a:pt x="556517" y="188966"/>
                </a:cubicBezTo>
                <a:lnTo>
                  <a:pt x="556517" y="188965"/>
                </a:lnTo>
                <a:close/>
                <a:moveTo>
                  <a:pt x="413323" y="177560"/>
                </a:moveTo>
                <a:cubicBezTo>
                  <a:pt x="413323" y="164695"/>
                  <a:pt x="413880" y="151090"/>
                  <a:pt x="409481" y="138680"/>
                </a:cubicBezTo>
                <a:cubicBezTo>
                  <a:pt x="394414" y="81319"/>
                  <a:pt x="236313" y="203809"/>
                  <a:pt x="217459" y="221624"/>
                </a:cubicBezTo>
                <a:cubicBezTo>
                  <a:pt x="215092" y="226128"/>
                  <a:pt x="216881" y="224732"/>
                  <a:pt x="220202" y="226290"/>
                </a:cubicBezTo>
                <a:cubicBezTo>
                  <a:pt x="272671" y="226290"/>
                  <a:pt x="325263" y="225771"/>
                  <a:pt x="377660" y="225771"/>
                </a:cubicBezTo>
                <a:cubicBezTo>
                  <a:pt x="412167" y="220389"/>
                  <a:pt x="413323" y="210466"/>
                  <a:pt x="413323" y="177560"/>
                </a:cubicBezTo>
                <a:lnTo>
                  <a:pt x="413323" y="177560"/>
                </a:lnTo>
                <a:close/>
                <a:moveTo>
                  <a:pt x="717816" y="250654"/>
                </a:moveTo>
                <a:cubicBezTo>
                  <a:pt x="705920" y="273291"/>
                  <a:pt x="708578" y="302987"/>
                  <a:pt x="684348" y="320118"/>
                </a:cubicBezTo>
                <a:cubicBezTo>
                  <a:pt x="651212" y="343544"/>
                  <a:pt x="567745" y="343608"/>
                  <a:pt x="586143" y="286942"/>
                </a:cubicBezTo>
                <a:cubicBezTo>
                  <a:pt x="603559" y="233072"/>
                  <a:pt x="636487" y="210160"/>
                  <a:pt x="696419" y="224216"/>
                </a:cubicBezTo>
                <a:cubicBezTo>
                  <a:pt x="711038" y="228842"/>
                  <a:pt x="714490" y="237992"/>
                  <a:pt x="717816" y="250654"/>
                </a:cubicBezTo>
                <a:lnTo>
                  <a:pt x="717816" y="250654"/>
                </a:lnTo>
                <a:close/>
                <a:moveTo>
                  <a:pt x="1761317" y="180670"/>
                </a:moveTo>
                <a:cubicBezTo>
                  <a:pt x="1761317" y="195172"/>
                  <a:pt x="1758099" y="210123"/>
                  <a:pt x="1754740" y="224216"/>
                </a:cubicBezTo>
                <a:cubicBezTo>
                  <a:pt x="1734933" y="306930"/>
                  <a:pt x="1702997" y="385622"/>
                  <a:pt x="1674638" y="465271"/>
                </a:cubicBezTo>
                <a:cubicBezTo>
                  <a:pt x="1648613" y="489859"/>
                  <a:pt x="1594513" y="476470"/>
                  <a:pt x="1566550" y="460605"/>
                </a:cubicBezTo>
                <a:cubicBezTo>
                  <a:pt x="1552565" y="447389"/>
                  <a:pt x="1587337" y="379960"/>
                  <a:pt x="1592889" y="363664"/>
                </a:cubicBezTo>
                <a:cubicBezTo>
                  <a:pt x="1601412" y="338636"/>
                  <a:pt x="1647962" y="246346"/>
                  <a:pt x="1608797" y="227846"/>
                </a:cubicBezTo>
                <a:cubicBezTo>
                  <a:pt x="1596204" y="227846"/>
                  <a:pt x="1586185" y="229404"/>
                  <a:pt x="1573689" y="232511"/>
                </a:cubicBezTo>
                <a:cubicBezTo>
                  <a:pt x="1456495" y="271279"/>
                  <a:pt x="1373310" y="383999"/>
                  <a:pt x="1288943" y="463715"/>
                </a:cubicBezTo>
                <a:cubicBezTo>
                  <a:pt x="1252375" y="481114"/>
                  <a:pt x="1226118" y="476662"/>
                  <a:pt x="1190194" y="459569"/>
                </a:cubicBezTo>
                <a:cubicBezTo>
                  <a:pt x="1186624" y="456202"/>
                  <a:pt x="1188353" y="450850"/>
                  <a:pt x="1189094" y="446608"/>
                </a:cubicBezTo>
                <a:cubicBezTo>
                  <a:pt x="1216278" y="339317"/>
                  <a:pt x="1259274" y="232942"/>
                  <a:pt x="1305951" y="131941"/>
                </a:cubicBezTo>
                <a:cubicBezTo>
                  <a:pt x="1313291" y="111320"/>
                  <a:pt x="1388747" y="118961"/>
                  <a:pt x="1407454" y="127795"/>
                </a:cubicBezTo>
                <a:cubicBezTo>
                  <a:pt x="1407454" y="150635"/>
                  <a:pt x="1404917" y="188966"/>
                  <a:pt x="1439816" y="188966"/>
                </a:cubicBezTo>
                <a:cubicBezTo>
                  <a:pt x="1518130" y="180810"/>
                  <a:pt x="1710008" y="20195"/>
                  <a:pt x="1758578" y="157863"/>
                </a:cubicBezTo>
                <a:cubicBezTo>
                  <a:pt x="1759955" y="165636"/>
                  <a:pt x="1761325" y="172682"/>
                  <a:pt x="1761325" y="180670"/>
                </a:cubicBezTo>
                <a:lnTo>
                  <a:pt x="1761317" y="180670"/>
                </a:lnTo>
                <a:close/>
              </a:path>
            </a:pathLst>
          </a:custGeom>
          <a:solidFill>
            <a:schemeClr val="bg1"/>
          </a:solidFill>
          <a:ln w="7461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B78F765-2AAF-6D64-9D02-36444FBC8745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479424" y="3112945"/>
            <a:ext cx="3708361" cy="287337"/>
          </a:xfrm>
        </p:spPr>
        <p:txBody>
          <a:bodyPr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4166F76A-4900-864D-B9F6-2488814C2A20}" type="datetime1">
              <a:rPr lang="de-DE" smtClean="0"/>
              <a:pPr/>
              <a:t>15.07.202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8697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56C5AA-B723-1B46-A200-44A840E6773F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200"/>
            <a:ext cx="11232000" cy="410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9412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39">
          <p15:clr>
            <a:srgbClr val="FBAE40"/>
          </p15:clr>
        </p15:guide>
        <p15:guide id="2" orient="horz" pos="372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603AA2-B5CF-DF42-BFD7-E438A8E61E16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Content right">
            <a:extLst>
              <a:ext uri="{FF2B5EF4-FFF2-40B4-BE49-F238E27FC236}">
                <a16:creationId xmlns:a16="http://schemas.microsoft.com/office/drawing/2014/main" id="{0ED697D8-4001-2C2F-6C69-6C69F0A9DA4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76575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8163"/>
            <a:ext cx="5436000" cy="4103036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532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39">
          <p15:clr>
            <a:srgbClr val="FBAE40"/>
          </p15:clr>
        </p15:guide>
        <p15:guide id="4" orient="horz" pos="3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BE2844-2F76-E644-A845-460A05DF696C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8" name="Content right">
            <a:extLst>
              <a:ext uri="{FF2B5EF4-FFF2-40B4-BE49-F238E27FC236}">
                <a16:creationId xmlns:a16="http://schemas.microsoft.com/office/drawing/2014/main" id="{821C6087-42E8-EF3E-2DB1-006977CF49A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84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Content center">
            <a:extLst>
              <a:ext uri="{FF2B5EF4-FFF2-40B4-BE49-F238E27FC236}">
                <a16:creationId xmlns:a16="http://schemas.microsoft.com/office/drawing/2014/main" id="{4DBF2313-467C-EC6E-F064-A45CD68A4D5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32000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Content left">
            <a:extLst>
              <a:ext uri="{FF2B5EF4-FFF2-40B4-BE49-F238E27FC236}">
                <a16:creationId xmlns:a16="http://schemas.microsoft.com/office/drawing/2014/main" id="{7E0D2C93-0AD3-3E6C-D51F-9BCD8E70F76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4" y="1807199"/>
            <a:ext cx="3528000" cy="4104000"/>
          </a:xfr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023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>
          <p15:clr>
            <a:srgbClr val="FBAE40"/>
          </p15:clr>
        </p15:guide>
        <p15:guide id="2" pos="2729">
          <p15:clr>
            <a:srgbClr val="FBAE40"/>
          </p15:clr>
        </p15:guide>
        <p15:guide id="3" pos="5155">
          <p15:clr>
            <a:srgbClr val="FBAE40"/>
          </p15:clr>
        </p15:guide>
        <p15:guide id="4" pos="495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5105732-2702-2705-E25B-F69A991136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32287" y="1816649"/>
            <a:ext cx="3527425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8F8D6EF-C64D-64CB-2BE5-D5340EA02F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85149" y="1816651"/>
            <a:ext cx="3527425" cy="452858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810C95-AC8E-6C1E-2B05-18C779A35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816651"/>
            <a:ext cx="3527424" cy="4528587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0F2DB-F57A-AF4E-AE6C-A93AEBE3F34F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7542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25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4951" userDrawn="1">
          <p15:clr>
            <a:srgbClr val="FBAE40"/>
          </p15:clr>
        </p15:guide>
        <p15:guide id="8" pos="515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D648E009-BB98-9E35-EA66-436B411E8A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2"/>
            <a:ext cx="2555266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9563D87D-9B7E-CB86-AD42-793930BBC5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59151" y="1808162"/>
            <a:ext cx="2556850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B04EEFA6-9DB8-5952-1B19-2DC826ECF73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40461" y="1808162"/>
            <a:ext cx="2592389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52F93D3B-4527-E2A4-E384-5954C4A981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56699" y="1808162"/>
            <a:ext cx="2555875" cy="4537075"/>
          </a:xfrm>
          <a:prstGeom prst="rect">
            <a:avLst/>
          </a:prstGeom>
          <a:solidFill>
            <a:srgbClr val="F8F5F2"/>
          </a:solidFill>
        </p:spPr>
        <p:txBody>
          <a:bodyPr lIns="180000" tIns="144000" rIns="180000" bIns="144000"/>
          <a:lstStyle>
            <a:lvl1pPr>
              <a:defRPr sz="1600" b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0"/>
            <a:endParaRPr lang="en-GB" dirty="0"/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54A01-68C8-6244-A7C0-65979CD3F425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5514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2116" userDrawn="1">
          <p15:clr>
            <a:srgbClr val="FBAE40"/>
          </p15:clr>
        </p15:guide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  <p15:guide id="7" pos="3727" userDrawn="1">
          <p15:clr>
            <a:srgbClr val="FBAE40"/>
          </p15:clr>
        </p15:guide>
        <p15:guide id="8" pos="3931" userDrawn="1">
          <p15:clr>
            <a:srgbClr val="FBAE40"/>
          </p15:clr>
        </p15:guide>
        <p15:guide id="9" pos="5564" userDrawn="1">
          <p15:clr>
            <a:srgbClr val="FBAE40"/>
          </p15:clr>
        </p15:guide>
        <p15:guide id="10" pos="5768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DA609EB-1031-BC6C-D577-7EE10D44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BFC4CD-1D60-AC45-8637-25ABD31243B7}" type="datetime1">
              <a:rPr lang="de-DE" smtClean="0"/>
              <a:t>15.07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9185A4-6071-7369-C763-6AD9F941B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81C39C-6A3D-0786-25B2-7B0E33F703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38808C9-218A-23C4-0979-17C2EF7C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60" name="Text Placeholder 59">
            <a:extLst>
              <a:ext uri="{FF2B5EF4-FFF2-40B4-BE49-F238E27FC236}">
                <a16:creationId xmlns:a16="http://schemas.microsoft.com/office/drawing/2014/main" id="{724FCAC5-11F5-9A4C-F9DC-4A81828929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1</a:t>
            </a:r>
            <a:endParaRPr lang="en-US" dirty="0"/>
          </a:p>
        </p:txBody>
      </p:sp>
      <p:sp>
        <p:nvSpPr>
          <p:cNvPr id="61" name="Text Placeholder 59">
            <a:extLst>
              <a:ext uri="{FF2B5EF4-FFF2-40B4-BE49-F238E27FC236}">
                <a16:creationId xmlns:a16="http://schemas.microsoft.com/office/drawing/2014/main" id="{FACD359C-D847-4B82-D96F-7456AFF3D7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757144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2</a:t>
            </a:r>
            <a:endParaRPr lang="en-US" dirty="0"/>
          </a:p>
        </p:txBody>
      </p:sp>
      <p:sp>
        <p:nvSpPr>
          <p:cNvPr id="62" name="Text Placeholder 59">
            <a:extLst>
              <a:ext uri="{FF2B5EF4-FFF2-40B4-BE49-F238E27FC236}">
                <a16:creationId xmlns:a16="http://schemas.microsoft.com/office/drawing/2014/main" id="{3A6CBA61-2475-CC89-F9C3-C02028C81A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4288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3</a:t>
            </a:r>
            <a:endParaRPr lang="en-US" dirty="0"/>
          </a:p>
        </p:txBody>
      </p:sp>
      <p:sp>
        <p:nvSpPr>
          <p:cNvPr id="63" name="Text Placeholder 59">
            <a:extLst>
              <a:ext uri="{FF2B5EF4-FFF2-40B4-BE49-F238E27FC236}">
                <a16:creationId xmlns:a16="http://schemas.microsoft.com/office/drawing/2014/main" id="{08F4EFE1-28F5-581B-F05D-38EBBE1ED4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11432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4</a:t>
            </a:r>
            <a:endParaRPr lang="en-US" dirty="0"/>
          </a:p>
        </p:txBody>
      </p:sp>
      <p:sp>
        <p:nvSpPr>
          <p:cNvPr id="64" name="Text Placeholder 59">
            <a:extLst>
              <a:ext uri="{FF2B5EF4-FFF2-40B4-BE49-F238E27FC236}">
                <a16:creationId xmlns:a16="http://schemas.microsoft.com/office/drawing/2014/main" id="{AB30CC30-1713-8F61-2722-FED948533C4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88000" y="1808163"/>
            <a:ext cx="2124000" cy="4537075"/>
          </a:xfrm>
          <a:prstGeom prst="rect">
            <a:avLst/>
          </a:prstGeom>
          <a:solidFill>
            <a:srgbClr val="F8F5F2"/>
          </a:solidFill>
        </p:spPr>
        <p:txBody>
          <a:bodyPr lIns="144000" tIns="144000" rIns="144000"/>
          <a:lstStyle>
            <a:lvl1pPr>
              <a:lnSpc>
                <a:spcPct val="80000"/>
              </a:lnSpc>
              <a:defRPr sz="80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5</a:t>
            </a:r>
            <a:endParaRPr lang="en-US" dirty="0"/>
          </a:p>
        </p:txBody>
      </p:sp>
      <p:sp>
        <p:nvSpPr>
          <p:cNvPr id="73" name="Text Placeholder 70">
            <a:extLst>
              <a:ext uri="{FF2B5EF4-FFF2-40B4-BE49-F238E27FC236}">
                <a16:creationId xmlns:a16="http://schemas.microsoft.com/office/drawing/2014/main" id="{FA15A0FC-E301-BBB8-6C26-2D2AA6D60F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186651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6" name="Text Placeholder 70">
            <a:extLst>
              <a:ext uri="{FF2B5EF4-FFF2-40B4-BE49-F238E27FC236}">
                <a16:creationId xmlns:a16="http://schemas.microsoft.com/office/drawing/2014/main" id="{F884D185-C4E4-F2B6-F85D-0F97BCF7F3C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09507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/>
              <a:t>DD.MM.YYYY</a:t>
            </a:r>
          </a:p>
          <a:p>
            <a:pPr lvl="0"/>
            <a:endParaRPr lang="en-GB"/>
          </a:p>
          <a:p>
            <a:pPr lvl="0"/>
            <a:r>
              <a:rPr lang="en-GB"/>
              <a:t>Next step</a:t>
            </a:r>
          </a:p>
          <a:p>
            <a:pPr lvl="0"/>
            <a:r>
              <a:rPr lang="en-US" b="0" err="1"/>
              <a:t>Fusce</a:t>
            </a:r>
            <a:r>
              <a:rPr lang="en-US" b="0"/>
              <a:t> </a:t>
            </a:r>
            <a:r>
              <a:rPr lang="en-US" b="0" err="1"/>
              <a:t>tristique</a:t>
            </a:r>
            <a:r>
              <a:rPr lang="en-US" b="0"/>
              <a:t>, </a:t>
            </a:r>
            <a:r>
              <a:rPr lang="en-US" b="0" err="1"/>
              <a:t>orci</a:t>
            </a:r>
            <a:r>
              <a:rPr lang="en-US" b="0"/>
              <a:t> </a:t>
            </a:r>
            <a:r>
              <a:rPr lang="en-US" b="0" err="1"/>
              <a:t>nec</a:t>
            </a:r>
            <a:r>
              <a:rPr lang="en-US" b="0"/>
              <a:t> </a:t>
            </a:r>
            <a:r>
              <a:rPr lang="en-US" b="0" err="1"/>
              <a:t>mollis</a:t>
            </a:r>
            <a:r>
              <a:rPr lang="en-US" b="0"/>
              <a:t> </a:t>
            </a:r>
            <a:r>
              <a:rPr lang="en-US" b="0" err="1"/>
              <a:t>aliquet</a:t>
            </a:r>
            <a:r>
              <a:rPr lang="en-US" b="0"/>
              <a:t>, </a:t>
            </a:r>
            <a:r>
              <a:rPr lang="en-US" b="0" err="1"/>
              <a:t>tortor</a:t>
            </a:r>
            <a:r>
              <a:rPr lang="en-US" b="0"/>
              <a:t> </a:t>
            </a:r>
            <a:r>
              <a:rPr lang="en-US" b="0" err="1"/>
              <a:t>velit</a:t>
            </a:r>
            <a:r>
              <a:rPr lang="en-US" b="0"/>
              <a:t> </a:t>
            </a:r>
            <a:r>
              <a:rPr lang="en-US" b="0" err="1"/>
              <a:t>blandit</a:t>
            </a:r>
            <a:r>
              <a:rPr lang="en-US" b="0"/>
              <a:t> </a:t>
            </a:r>
            <a:r>
              <a:rPr lang="en-US" b="0" err="1"/>
              <a:t>urna</a:t>
            </a:r>
            <a:r>
              <a:rPr lang="en-US" b="0"/>
              <a:t>, sed gravida </a:t>
            </a:r>
            <a:r>
              <a:rPr lang="en-US" b="0" err="1"/>
              <a:t>odio</a:t>
            </a:r>
            <a:r>
              <a:rPr lang="en-US" b="0"/>
              <a:t> </a:t>
            </a:r>
            <a:r>
              <a:rPr lang="en-US" b="0" err="1"/>
              <a:t>quam</a:t>
            </a:r>
            <a:r>
              <a:rPr lang="en-US" b="0"/>
              <a:t> </a:t>
            </a:r>
            <a:r>
              <a:rPr lang="en-US" b="0" err="1"/>
              <a:t>ut</a:t>
            </a:r>
            <a:r>
              <a:rPr lang="en-US" b="0"/>
              <a:t> </a:t>
            </a:r>
            <a:r>
              <a:rPr lang="en-US" b="0" err="1"/>
              <a:t>leo</a:t>
            </a:r>
            <a:r>
              <a:rPr lang="en-US" b="0"/>
              <a:t>.</a:t>
            </a:r>
            <a:endParaRPr lang="en-GB"/>
          </a:p>
          <a:p>
            <a:pPr lvl="0"/>
            <a:endParaRPr lang="en-US"/>
          </a:p>
        </p:txBody>
      </p:sp>
      <p:sp>
        <p:nvSpPr>
          <p:cNvPr id="77" name="Text Placeholder 70">
            <a:extLst>
              <a:ext uri="{FF2B5EF4-FFF2-40B4-BE49-F238E27FC236}">
                <a16:creationId xmlns:a16="http://schemas.microsoft.com/office/drawing/2014/main" id="{049757F1-D506-2C2C-269C-5FC0FDF083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8" name="Text Placeholder 70">
            <a:extLst>
              <a:ext uri="{FF2B5EF4-FFF2-40B4-BE49-F238E27FC236}">
                <a16:creationId xmlns:a16="http://schemas.microsoft.com/office/drawing/2014/main" id="{B14F01AA-43F5-F834-B7F6-3949E5206A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463795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  <p:sp>
        <p:nvSpPr>
          <p:cNvPr id="79" name="Text Placeholder 70">
            <a:extLst>
              <a:ext uri="{FF2B5EF4-FFF2-40B4-BE49-F238E27FC236}">
                <a16:creationId xmlns:a16="http://schemas.microsoft.com/office/drawing/2014/main" id="{6CE067F8-251E-8C0B-ACA3-8B0217FB0B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40363" y="3428999"/>
            <a:ext cx="1819275" cy="2484439"/>
          </a:xfrm>
        </p:spPr>
        <p:txBody>
          <a:bodyPr/>
          <a:lstStyle>
            <a:lvl1pPr>
              <a:lnSpc>
                <a:spcPct val="100000"/>
              </a:lnSpc>
              <a:defRPr sz="1600"/>
            </a:lvl1pPr>
          </a:lstStyle>
          <a:p>
            <a:pPr lvl="0"/>
            <a:r>
              <a:rPr lang="en-GB" dirty="0"/>
              <a:t>DD.MM.YYYY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Next step</a:t>
            </a:r>
          </a:p>
          <a:p>
            <a:pPr lvl="0"/>
            <a:r>
              <a:rPr lang="en-US" b="0" dirty="0" err="1"/>
              <a:t>Fusce</a:t>
            </a:r>
            <a:r>
              <a:rPr lang="en-US" b="0" dirty="0"/>
              <a:t> </a:t>
            </a:r>
            <a:r>
              <a:rPr lang="en-US" b="0" dirty="0" err="1"/>
              <a:t>tristique</a:t>
            </a:r>
            <a:r>
              <a:rPr lang="en-US" b="0" dirty="0"/>
              <a:t>, </a:t>
            </a:r>
            <a:r>
              <a:rPr lang="en-US" b="0" dirty="0" err="1"/>
              <a:t>orci</a:t>
            </a:r>
            <a:r>
              <a:rPr lang="en-US" b="0" dirty="0"/>
              <a:t> </a:t>
            </a:r>
            <a:r>
              <a:rPr lang="en-US" b="0" dirty="0" err="1"/>
              <a:t>nec</a:t>
            </a:r>
            <a:r>
              <a:rPr lang="en-US" b="0" dirty="0"/>
              <a:t> </a:t>
            </a:r>
            <a:r>
              <a:rPr lang="en-US" b="0" dirty="0" err="1"/>
              <a:t>mollis</a:t>
            </a:r>
            <a:r>
              <a:rPr lang="en-US" b="0" dirty="0"/>
              <a:t> </a:t>
            </a:r>
            <a:r>
              <a:rPr lang="en-US" b="0" dirty="0" err="1"/>
              <a:t>aliquet</a:t>
            </a:r>
            <a:r>
              <a:rPr lang="en-US" b="0" dirty="0"/>
              <a:t>, </a:t>
            </a:r>
            <a:r>
              <a:rPr lang="en-US" b="0" dirty="0" err="1"/>
              <a:t>tortor</a:t>
            </a:r>
            <a:r>
              <a:rPr lang="en-US" b="0" dirty="0"/>
              <a:t> </a:t>
            </a:r>
            <a:r>
              <a:rPr lang="en-US" b="0" dirty="0" err="1"/>
              <a:t>velit</a:t>
            </a:r>
            <a:r>
              <a:rPr lang="en-US" b="0" dirty="0"/>
              <a:t> </a:t>
            </a:r>
            <a:r>
              <a:rPr lang="en-US" b="0" dirty="0" err="1"/>
              <a:t>blandit</a:t>
            </a:r>
            <a:r>
              <a:rPr lang="en-US" b="0" dirty="0"/>
              <a:t> </a:t>
            </a:r>
            <a:r>
              <a:rPr lang="en-US" b="0" dirty="0" err="1"/>
              <a:t>urna</a:t>
            </a:r>
            <a:r>
              <a:rPr lang="en-US" b="0" dirty="0"/>
              <a:t>, sed gravida </a:t>
            </a:r>
            <a:r>
              <a:rPr lang="en-US" b="0" dirty="0" err="1"/>
              <a:t>odio</a:t>
            </a:r>
            <a:r>
              <a:rPr lang="en-US" b="0" dirty="0"/>
              <a:t> </a:t>
            </a:r>
            <a:r>
              <a:rPr lang="en-US" b="0" dirty="0" err="1"/>
              <a:t>quam</a:t>
            </a:r>
            <a:r>
              <a:rPr lang="en-US" b="0" dirty="0"/>
              <a:t> </a:t>
            </a:r>
            <a:r>
              <a:rPr lang="en-US" b="0" dirty="0" err="1"/>
              <a:t>ut</a:t>
            </a:r>
            <a:r>
              <a:rPr lang="en-US" b="0" dirty="0"/>
              <a:t> </a:t>
            </a:r>
            <a:r>
              <a:rPr lang="en-US" b="0" dirty="0" err="1"/>
              <a:t>leo</a:t>
            </a:r>
            <a:r>
              <a:rPr lang="en-US" b="0" dirty="0"/>
              <a:t>.</a:t>
            </a:r>
            <a:endParaRPr lang="en-GB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533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1139">
          <p15:clr>
            <a:srgbClr val="FBAE40"/>
          </p15:clr>
        </p15:guide>
        <p15:guide id="6" orient="horz" pos="372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635FA2F-196F-B7E9-F8E7-BA2662EB25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0000" y="512763"/>
            <a:ext cx="11232000" cy="8863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1CCA2-64AC-011A-6E48-D7BAE381437D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80000" y="1808163"/>
            <a:ext cx="11232000" cy="410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A303A87-3372-7C52-3A6E-92D7BAAC45F2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9983998" y="6526212"/>
            <a:ext cx="1188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4166F76A-4900-864D-B9F6-2488814C2A20}" type="datetime1">
              <a:rPr lang="de-DE" smtClean="0"/>
              <a:t>15.07.20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E57ADF3-BF8D-274D-175D-117F148AB0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80000" y="6526212"/>
            <a:ext cx="5436000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/>
              <a:t>New E.ON PowerPoint Master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28E599-8D88-7F1F-581D-9EE50A461F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351999" y="6526212"/>
            <a:ext cx="360001" cy="138499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r">
              <a:defRPr sz="900" b="1">
                <a:solidFill>
                  <a:schemeClr val="tx1"/>
                </a:solidFill>
              </a:defRPr>
            </a:lvl1pPr>
          </a:lstStyle>
          <a:p>
            <a:fld id="{01FFFE70-FC19-4A94-9D10-0B3C8E890CB2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0" name="empower - DO NOT DELETE!!!" hidden="1">
            <a:extLst>
              <a:ext uri="{FF2B5EF4-FFF2-40B4-BE49-F238E27FC236}">
                <a16:creationId xmlns:a16="http://schemas.microsoft.com/office/drawing/2014/main" id="{CD89FD70-3824-0C4D-517B-1E78167FED4E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 defTabSz="540000">
              <a:lnSpc>
                <a:spcPct val="120000"/>
              </a:lnSpc>
              <a:spcAft>
                <a:spcPts val="400"/>
              </a:spcAft>
            </a:pPr>
            <a:endParaRPr lang="de-DE" sz="1400"/>
          </a:p>
        </p:txBody>
      </p:sp>
    </p:spTree>
    <p:extLst>
      <p:ext uri="{BB962C8B-B14F-4D97-AF65-F5344CB8AC3E}">
        <p14:creationId xmlns:p14="http://schemas.microsoft.com/office/powerpoint/2010/main" val="2042808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90" r:id="rId2"/>
    <p:sldLayoutId id="2147483678" r:id="rId3"/>
    <p:sldLayoutId id="2147483679" r:id="rId4"/>
    <p:sldLayoutId id="2147483680" r:id="rId5"/>
    <p:sldLayoutId id="2147483685" r:id="rId6"/>
    <p:sldLayoutId id="2147483687" r:id="rId7"/>
    <p:sldLayoutId id="2147483681" r:id="rId8"/>
    <p:sldLayoutId id="2147483686" r:id="rId9"/>
    <p:sldLayoutId id="2147483682" r:id="rId10"/>
    <p:sldLayoutId id="2147483656" r:id="rId11"/>
    <p:sldLayoutId id="2147483657" r:id="rId12"/>
    <p:sldLayoutId id="2147483684" r:id="rId13"/>
    <p:sldLayoutId id="2147483691" r:id="rId14"/>
    <p:sldLayoutId id="2147483675" r:id="rId15"/>
    <p:sldLayoutId id="2147483658" r:id="rId16"/>
    <p:sldLayoutId id="2147483671" r:id="rId17"/>
    <p:sldLayoutId id="2147483670" r:id="rId18"/>
    <p:sldLayoutId id="2147483659" r:id="rId19"/>
    <p:sldLayoutId id="2147483660" r:id="rId20"/>
    <p:sldLayoutId id="2147483683" r:id="rId21"/>
    <p:sldLayoutId id="2147483661" r:id="rId22"/>
    <p:sldLayoutId id="2147483664" r:id="rId23"/>
    <p:sldLayoutId id="2147483665" r:id="rId24"/>
    <p:sldLayoutId id="2147483666" r:id="rId25"/>
    <p:sldLayoutId id="2147483667" r:id="rId26"/>
    <p:sldLayoutId id="2147483669" r:id="rId27"/>
    <p:sldLayoutId id="2147483668" r:id="rId28"/>
  </p:sldLayoutIdLst>
  <p:hf hdr="0" dt="0"/>
  <p:txStyles>
    <p:titleStyle>
      <a:lvl1pPr algn="l" defTabSz="5400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3017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52400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733550" indent="-215900" algn="l" defTabSz="540000" rtl="0" eaLnBrk="1" latinLnBrk="0" hangingPunct="1">
        <a:lnSpc>
          <a:spcPct val="120000"/>
        </a:lnSpc>
        <a:spcBef>
          <a:spcPts val="0"/>
        </a:spcBef>
        <a:spcAft>
          <a:spcPts val="400"/>
        </a:spcAft>
        <a:buFont typeface="EON Brix Sans" panose="020B0500000000000000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323" userDrawn="1">
          <p15:clr>
            <a:srgbClr val="F26B43"/>
          </p15:clr>
        </p15:guide>
        <p15:guide id="8" orient="horz" pos="399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D846CA-D200-DE7A-146B-8351520BEF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428D90BB-67A5-70ED-F474-5A9EA4CC487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322038E3-A9A5-1086-8926-1B3CB13F614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4" y="2245658"/>
            <a:ext cx="5616575" cy="1056341"/>
          </a:xfrm>
        </p:spPr>
        <p:txBody>
          <a:bodyPr/>
          <a:lstStyle/>
          <a:p>
            <a:r>
              <a:rPr lang="en-GB" dirty="0"/>
              <a:t>Testing </a:t>
            </a:r>
            <a:r>
              <a:rPr lang="en-GB"/>
              <a:t>Approach Overview </a:t>
            </a: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9927537-4F4F-0E31-EF4F-4711681A30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5" y="512763"/>
            <a:ext cx="11233150" cy="1732896"/>
          </a:xfrm>
        </p:spPr>
        <p:txBody>
          <a:bodyPr/>
          <a:lstStyle/>
          <a:p>
            <a:r>
              <a:rPr lang="en-GB" dirty="0"/>
              <a:t>IGT173 – Gateway Delivery of RPC Data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E6F9331-22F2-E23F-AABE-CBCC5E71DCB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>
          <a:xfrm>
            <a:off x="9732025" y="5799032"/>
            <a:ext cx="1980551" cy="546206"/>
          </a:xfrm>
        </p:spPr>
        <p:txBody>
          <a:bodyPr/>
          <a:lstStyle/>
          <a:p>
            <a:r>
              <a:rPr lang="de-DE" dirty="0"/>
              <a:t> 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8DBA316-DCF6-9A86-04E1-03FC1427A46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dirty="0"/>
              <a:t>01.07.2024</a:t>
            </a:r>
          </a:p>
        </p:txBody>
      </p:sp>
    </p:spTree>
    <p:extLst>
      <p:ext uri="{BB962C8B-B14F-4D97-AF65-F5344CB8AC3E}">
        <p14:creationId xmlns:p14="http://schemas.microsoft.com/office/powerpoint/2010/main" val="21267577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B4DE7D4-11D6-4EC2-E554-B6BFA0ACFA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1999" y="6526212"/>
            <a:ext cx="360001" cy="138499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1C9F2F7-3DF4-6CF3-9BD8-9C267B4F5D7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807199"/>
            <a:ext cx="11232000" cy="4538037"/>
          </a:xfrm>
        </p:spPr>
        <p:txBody>
          <a:bodyPr/>
          <a:lstStyle/>
          <a:p>
            <a:r>
              <a:rPr lang="en-US" dirty="0"/>
              <a:t>Modification IGT173 aims to update the mechanism of delivery of the RPC files from email/portal to IX delivery. </a:t>
            </a:r>
          </a:p>
          <a:p>
            <a:endParaRPr lang="en-US" dirty="0"/>
          </a:p>
          <a:p>
            <a:r>
              <a:rPr lang="en-US" dirty="0"/>
              <a:t>IGT173 has been approved by the IGT UNC Panel, and XRN 5720 has been approved by the DSC Committee. Both changes are targeting the Nov 2024 release for implementation. </a:t>
            </a:r>
          </a:p>
          <a:p>
            <a:endParaRPr lang="en-US" dirty="0"/>
          </a:p>
          <a:p>
            <a:r>
              <a:rPr lang="en-US" dirty="0"/>
              <a:t>To support delivery, a testing window for volunteering parties is being created ahead of delivery. </a:t>
            </a:r>
          </a:p>
          <a:p>
            <a:endParaRPr lang="en-US" dirty="0"/>
          </a:p>
          <a:p>
            <a:r>
              <a:rPr lang="en-US" dirty="0"/>
              <a:t>Only a small number of parties have expressed interest in testing as part of the modification responses. </a:t>
            </a:r>
          </a:p>
          <a:p>
            <a:endParaRPr lang="en-US" dirty="0"/>
          </a:p>
          <a:p>
            <a:r>
              <a:rPr lang="en-US" dirty="0"/>
              <a:t>Pre implementation testing is not planned for all IGT modifications; the approach for IGT173 will be bespoke. As part of IGT173 approval, the testing approach will require panel review ahead of commencement of the testing window. </a:t>
            </a:r>
            <a:br>
              <a:rPr lang="en-US" dirty="0"/>
            </a:b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13884D-D2C8-9B52-74E7-998BF51BD8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512763"/>
            <a:ext cx="11232000" cy="886397"/>
          </a:xfrm>
        </p:spPr>
        <p:txBody>
          <a:bodyPr/>
          <a:lstStyle/>
          <a:p>
            <a:r>
              <a:rPr lang="en-US" dirty="0"/>
              <a:t>Background</a:t>
            </a:r>
          </a:p>
        </p:txBody>
      </p:sp>
    </p:spTree>
    <p:extLst>
      <p:ext uri="{BB962C8B-B14F-4D97-AF65-F5344CB8AC3E}">
        <p14:creationId xmlns:p14="http://schemas.microsoft.com/office/powerpoint/2010/main" val="831720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9A4EF4-E9C1-EE97-85DA-17EDC1B5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A13660-F511-4FB6-CE91-086DDDD0D6B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80575" y="1004767"/>
            <a:ext cx="11232000" cy="5659944"/>
          </a:xfrm>
        </p:spPr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window duration – suggestion 3 weeks (may conclude quicker)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Proposer has asked Xoserve if testing window can be made available to align to the IGTs Oct billing run (for Sept) – awaiting response/confirmation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window commencement date – suggestion 7</a:t>
            </a:r>
            <a:r>
              <a:rPr lang="en-GB" sz="1200" baseline="30000" dirty="0"/>
              <a:t>th</a:t>
            </a:r>
            <a:r>
              <a:rPr lang="en-GB" sz="1200" dirty="0"/>
              <a:t> – 25</a:t>
            </a:r>
            <a:r>
              <a:rPr lang="en-GB" sz="1200" baseline="30000" dirty="0"/>
              <a:t>th</a:t>
            </a:r>
            <a:r>
              <a:rPr lang="en-GB" sz="1200" dirty="0"/>
              <a:t> October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TBC once Xoserve have confirmed if dates are achievable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Workgroup recommendation that the testing scenarios deliver confidence for the approved business rules. </a:t>
            </a:r>
          </a:p>
          <a:p>
            <a:pPr marL="558900" lvl="1" indent="-342900"/>
            <a:r>
              <a:rPr lang="en-GB" sz="1200" dirty="0"/>
              <a:t>Do any additional scenario tests need including for any of the business rules? 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ction for parties to consider this – to be finalised at Aug mee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parties want to test anything which is outside of the stated business rules? </a:t>
            </a:r>
          </a:p>
          <a:p>
            <a:pPr marL="558900" lvl="1" indent="-342900"/>
            <a:r>
              <a:rPr lang="en-GB" sz="1200" dirty="0"/>
              <a:t>An example of this is a file which is an inconsistent file size e.g. 10 x larger than normal.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ction for parties to consider this – to be finalised at Aug meeting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Confirmation of testing parties – so far 2 x IGT and 2 x Shipper volunteers, anyone else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Updated to 3 x IGT volunteers during July meeting, action for final participants for Aug meeting when approach will hopefully be finalised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volunteering parties want to test with all participants or use a buddy system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July meeting recommended replicating live so all participants in testing would sent / receive files rather than buddy up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Do volunteering parties want to have daily check in calls or another frequency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ctions for parties to consider this – to be finalised at Aug mee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How do workgroup and volunteering parties want to capture testing evidence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ctions for parties to consider this – to be finalised at Aug meeting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1200" dirty="0"/>
              <a:t>How do workgroup and volunteering parties want to recommend release implementation to Panel?</a:t>
            </a:r>
          </a:p>
          <a:p>
            <a:pPr marL="558900" lvl="1" indent="-342900">
              <a:buFont typeface="Wingdings" panose="05000000000000000000" pitchFamily="2" charset="2"/>
              <a:buChar char="v"/>
            </a:pPr>
            <a:r>
              <a:rPr lang="en-GB" sz="1200" dirty="0">
                <a:solidFill>
                  <a:srgbClr val="0093F5"/>
                </a:solidFill>
              </a:rPr>
              <a:t>Actions for parties to consider this – to be finalised at Aug meeting. Additional consideration of panel dates raised by code administrator. </a:t>
            </a:r>
          </a:p>
          <a:p>
            <a:endParaRPr lang="en-GB" dirty="0"/>
          </a:p>
          <a:p>
            <a:endParaRPr lang="en-GB" dirty="0"/>
          </a:p>
          <a:p>
            <a:pPr marL="342900" indent="-342900">
              <a:buAutoNum type="arabicParenR"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FDDEB01-0F48-CE96-13F3-35CAA5A96C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orkgroup considerations / recommendations</a:t>
            </a:r>
          </a:p>
        </p:txBody>
      </p:sp>
    </p:spTree>
    <p:extLst>
      <p:ext uri="{BB962C8B-B14F-4D97-AF65-F5344CB8AC3E}">
        <p14:creationId xmlns:p14="http://schemas.microsoft.com/office/powerpoint/2010/main" val="18815934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E870A9F-FB88-ED48-EDF5-FD32525AF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AFA383-E853-A140-2437-C3EB9E3396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3D2EC2A-2BB1-23AC-D9CB-24DA81F78A1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dirty="0"/>
              <a:t>Testing data to be dummy rather than live</a:t>
            </a:r>
          </a:p>
          <a:p>
            <a:pPr marL="501750" lvl="1" indent="-285750">
              <a:buFont typeface="Wingdings" panose="05000000000000000000" pitchFamily="2" charset="2"/>
              <a:buChar char="v"/>
            </a:pPr>
            <a:r>
              <a:rPr lang="en-GB" dirty="0">
                <a:solidFill>
                  <a:srgbClr val="0093F5"/>
                </a:solidFill>
              </a:rPr>
              <a:t>Workgroup supported using test data and agreed to add it as a note to the scenario tests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DB3E75B-40A2-78E3-8F1B-3075CE0F4C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ditional Workgroup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15809681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CA17E3-9F71-B1E2-2B3D-4299A532C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30A428-9CB5-6EEE-F091-740948C7671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AutoNum type="arabicParenR"/>
            </a:pPr>
            <a:r>
              <a:rPr lang="en-GB" dirty="0"/>
              <a:t>The IGTs can successfully create a file using the guidance documentation.</a:t>
            </a:r>
          </a:p>
          <a:p>
            <a:pPr marL="342900" indent="-342900">
              <a:buAutoNum type="arabicParenR" startAt="2"/>
            </a:pPr>
            <a:r>
              <a:rPr lang="en-GB" dirty="0"/>
              <a:t>Files are successfully cascaded between the IGT / CDSP / Shipper with successful notifications issued.</a:t>
            </a:r>
          </a:p>
          <a:p>
            <a:pPr marL="342900" indent="-342900">
              <a:buAutoNum type="arabicParenR" startAt="3"/>
            </a:pPr>
            <a:r>
              <a:rPr lang="en-GB" dirty="0"/>
              <a:t>Files with invalid file extensions fail as expected and unsuccessful notifications are issued.</a:t>
            </a:r>
          </a:p>
          <a:p>
            <a:pPr marL="342900" indent="-342900">
              <a:buAutoNum type="arabicParenR" startAt="4"/>
            </a:pPr>
            <a:r>
              <a:rPr lang="en-GB" dirty="0"/>
              <a:t>Files with invalid naming conventions fail as expected and unsuccessful notifications are issued. </a:t>
            </a:r>
          </a:p>
          <a:p>
            <a:pPr marL="342900" indent="-342900">
              <a:buAutoNum type="arabicParenR" startAt="5"/>
            </a:pPr>
            <a:r>
              <a:rPr lang="en-GB" dirty="0"/>
              <a:t>Files with incorrect file numberings e.g. TKAB1234 fail and unsuccessful notifications are issued. </a:t>
            </a:r>
          </a:p>
          <a:p>
            <a:pPr marL="342900" indent="-342900">
              <a:buAutoNum type="arabicParenR" startAt="5"/>
            </a:pPr>
            <a:endParaRPr lang="en-GB" dirty="0"/>
          </a:p>
          <a:p>
            <a:r>
              <a:rPr lang="en-GB" dirty="0"/>
              <a:t>NOT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File naming for testing use ‘TN’ rather than production ‘PN’ naming. Should PN files be used this may result in files be loaded into parties live environment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93F5"/>
                </a:solidFill>
              </a:rPr>
              <a:t>File data to contain test/dummy data rather than replicating live billing data. 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AC9F9C-090D-E516-2876-0B8659FBC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nitial High-Level Testing Scenarios </a:t>
            </a:r>
          </a:p>
        </p:txBody>
      </p:sp>
    </p:spTree>
    <p:extLst>
      <p:ext uri="{BB962C8B-B14F-4D97-AF65-F5344CB8AC3E}">
        <p14:creationId xmlns:p14="http://schemas.microsoft.com/office/powerpoint/2010/main" val="21660071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CF2A4FF-BEA7-7C4A-2FA0-A3CA299C6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FFE70-FC19-4A94-9D10-0B3C8E890CB2}" type="slidenum">
              <a:rPr lang="de-DE" smtClean="0"/>
              <a:pPr/>
              <a:t>6</a:t>
            </a:fld>
            <a:endParaRPr lang="de-DE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32776D1-F26A-FF71-5F95-697AA47C1701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808580455"/>
              </p:ext>
            </p:extLst>
          </p:nvPr>
        </p:nvGraphicFramePr>
        <p:xfrm>
          <a:off x="480438" y="1153477"/>
          <a:ext cx="11231562" cy="5191760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1581627">
                  <a:extLst>
                    <a:ext uri="{9D8B030D-6E8A-4147-A177-3AD203B41FA5}">
                      <a16:colId xmlns:a16="http://schemas.microsoft.com/office/drawing/2014/main" val="3728151564"/>
                    </a:ext>
                  </a:extLst>
                </a:gridCol>
                <a:gridCol w="1427584">
                  <a:extLst>
                    <a:ext uri="{9D8B030D-6E8A-4147-A177-3AD203B41FA5}">
                      <a16:colId xmlns:a16="http://schemas.microsoft.com/office/drawing/2014/main" val="463776830"/>
                    </a:ext>
                  </a:extLst>
                </a:gridCol>
                <a:gridCol w="8222351">
                  <a:extLst>
                    <a:ext uri="{9D8B030D-6E8A-4147-A177-3AD203B41FA5}">
                      <a16:colId xmlns:a16="http://schemas.microsoft.com/office/drawing/2014/main" val="356468740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Business Ru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Scenario Te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mment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2056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 &amp;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 only test for creating the file to s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69238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, Shipper and CDSP test confirming successful IX deliver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08413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98658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s may want to add in scenarios to test, no current scenarios captur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24626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, 2 &amp;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GT, Shipper and CDSP tests for valid and invalid scenari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5601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 &amp;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IGT, Shipper and CDSP tests for valid and invalid scenario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31849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 scenarios currently outlined as timing of the test window does not reflect liv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78406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voidance of date statement, no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431543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Offline process, no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754801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39784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/>
                        <a:t>Delivered via scenario 2, no additional scenarios outlined for th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05010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 scenarios as this rule is around completing testing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79223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No scenarios as this is relates to the post implementation review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5332113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EAE2686D-F605-713C-8E57-996D488A9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Business Rules Testing </a:t>
            </a:r>
          </a:p>
        </p:txBody>
      </p:sp>
    </p:spTree>
    <p:extLst>
      <p:ext uri="{BB962C8B-B14F-4D97-AF65-F5344CB8AC3E}">
        <p14:creationId xmlns:p14="http://schemas.microsoft.com/office/powerpoint/2010/main" val="23227670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9176567D-7CF6-3F15-32C6-A87DB36FC2E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BBC02D-79D1-7BBF-20A9-E710B3A70C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r>
              <a:rPr lang="de-DE"/>
              <a:t>New E.ON PowerPoint Mast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90FDDD-3D4A-217D-A9BA-24D0EBBA7C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2192000" y="6858000"/>
            <a:ext cx="0" cy="0"/>
          </a:xfrm>
        </p:spPr>
        <p:txBody>
          <a:bodyPr/>
          <a:lstStyle/>
          <a:p>
            <a:fld id="{01FFFE70-FC19-4A94-9D10-0B3C8E890CB2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03488AB-D314-093B-7FFE-612860F13D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1448780"/>
            <a:ext cx="11233150" cy="3545586"/>
          </a:xfrm>
        </p:spPr>
        <p:txBody>
          <a:bodyPr>
            <a:normAutofit/>
          </a:bodyPr>
          <a:lstStyle/>
          <a:p>
            <a:r>
              <a:rPr lang="en-US" dirty="0"/>
              <a:t>Thank you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F8412C5-EFDE-8353-01F2-6E4ED7CD44F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28802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RESENTATION_LANGUAGE" val="10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UPDATE" val="True"/>
  <p:tag name="MIO_FALLBACK_LAYOUT" val="10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False"/>
  <p:tag name="MIO_EKGUID" val="eb6f9806-6aca-42a5-a15d-21eb542aa4f3"/>
  <p:tag name="MIO_DBID" val="D7590C14-188D-4365-94A4-B777FB29057E"/>
  <p:tag name="MIO_OBJECTNAME" val="# E.ON"/>
  <p:tag name="MIO_NUMBER_OF_VALID_LAYOUTS" val="27"/>
  <p:tag name="MIO_VERSION" val="20.06.2023 11:00:13"/>
  <p:tag name="MIO_LASTDOWNLOADED" val="01.08.2023 07:08:57.546"/>
  <p:tag name="MIO_CDID" val="4d0307e6-a3f9-4dd6-817a-a971db264043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E.ON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72000" tIns="72000" rIns="72000" bIns="72000" rtlCol="0" anchor="ctr"/>
      <a:lstStyle>
        <a:defPPr algn="ctr" defTabSz="540000">
          <a:lnSpc>
            <a:spcPct val="120000"/>
          </a:lnSpc>
          <a:spcAft>
            <a:spcPts val="400"/>
          </a:spcAft>
          <a:defRPr sz="14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 defTabSz="540000">
          <a:lnSpc>
            <a:spcPct val="120000"/>
          </a:lnSpc>
          <a:spcAft>
            <a:spcPts val="400"/>
          </a:spcAft>
          <a:defRPr dirty="0"/>
        </a:defPPr>
      </a:lstStyle>
    </a:txDef>
  </a:objectDefaults>
  <a:extraClrSchemeLst/>
  <a:custClrLst>
    <a:custClr name="Red 100">
      <a:srgbClr val="F6E5DC"/>
    </a:custClr>
    <a:custClr name="Red 200">
      <a:srgbClr val="F6C1B0"/>
    </a:custClr>
    <a:custClr name="Red 300">
      <a:srgbClr val="F59A86"/>
    </a:custClr>
    <a:custClr name="Red 400">
      <a:srgbClr val="F05B48"/>
    </a:custClr>
    <a:custClr name="Red 500">
      <a:srgbClr val="EA1B0A"/>
    </a:custClr>
    <a:custClr name="Red 600">
      <a:srgbClr val="C41708"/>
    </a:custClr>
    <a:custClr name="Red 700">
      <a:srgbClr val="9D1207"/>
    </a:custClr>
    <a:custClr name="Red 800">
      <a:srgbClr val="750E05"/>
    </a:custClr>
    <a:custClr name="Red 900">
      <a:srgbClr val="4E0903"/>
    </a:custClr>
    <a:custClr>
      <a:srgbClr val="FFFFFF"/>
    </a:custClr>
    <a:custClr name="Purple 100">
      <a:srgbClr val="F0D8EB"/>
    </a:custClr>
    <a:custClr name="Purple 200">
      <a:srgbClr val="DBA6D1"/>
    </a:custClr>
    <a:custClr name="Purple 300">
      <a:srgbClr val="CA6FBA"/>
    </a:custClr>
    <a:custClr name="Purple 400">
      <a:srgbClr val="B0429D"/>
    </a:custClr>
    <a:custClr name="Purple 500">
      <a:srgbClr val="961482"/>
    </a:custClr>
    <a:custClr name="Purple 600">
      <a:srgbClr val="821171"/>
    </a:custClr>
    <a:custClr name="Purple 700">
      <a:srgbClr val="710F62"/>
    </a:custClr>
    <a:custClr name="Purple 800">
      <a:srgbClr val="5F0C52"/>
    </a:custClr>
    <a:custClr name="Purple 900">
      <a:srgbClr val="4D0A42"/>
    </a:custClr>
    <a:custClr>
      <a:srgbClr val="FFFFFF"/>
    </a:custClr>
    <a:custClr name="Grey 100">
      <a:srgbClr val="F8F5F2"/>
    </a:custClr>
    <a:custClr name="Grey 200">
      <a:srgbClr val="F0EBE5"/>
    </a:custClr>
    <a:custClr name="Grey 300">
      <a:srgbClr val="D7D0CC"/>
    </a:custClr>
    <a:custClr name="Grey 400">
      <a:srgbClr val="B3ACA9"/>
    </a:custClr>
    <a:custClr name="Grey 500">
      <a:srgbClr val="958D8B"/>
    </a:custClr>
    <a:custClr name="Grey 600">
      <a:srgbClr val="767676"/>
    </a:custClr>
    <a:custClr name="Grey 700">
      <a:srgbClr val="5C5C5C"/>
    </a:custClr>
    <a:custClr name="Grey 800">
      <a:srgbClr val="404040"/>
    </a:custClr>
    <a:custClr name="Grey 900">
      <a:srgbClr val="262626"/>
    </a:custClr>
    <a:custClr>
      <a:srgbClr val="FFFFFF"/>
    </a:custClr>
    <a:custClr name="Blue 100">
      <a:srgbClr val="CCEBFF"/>
    </a:custClr>
    <a:custClr name="Blue 200">
      <a:srgbClr val="A3DAFF"/>
    </a:custClr>
    <a:custClr name="Blue 300">
      <a:srgbClr val="7ACAFF"/>
    </a:custClr>
    <a:custClr name="Blue 400">
      <a:srgbClr val="52BAFF"/>
    </a:custClr>
    <a:custClr name="Blue 500">
      <a:srgbClr val="27A9FF"/>
    </a:custClr>
    <a:custClr name="Blue 600">
      <a:srgbClr val="0093F5"/>
    </a:custClr>
    <a:custClr name="Blue 700">
      <a:srgbClr val="0075C2"/>
    </a:custClr>
    <a:custClr name="Blue 800">
      <a:srgbClr val="00568F"/>
    </a:custClr>
    <a:custClr name="Blue 900">
      <a:srgbClr val="00375C"/>
    </a:custClr>
    <a:custClr>
      <a:srgbClr val="FFFFFF"/>
    </a:custClr>
  </a:custClrLst>
  <a:extLst>
    <a:ext uri="{05A4C25C-085E-4340-85A3-A5531E510DB2}">
      <thm15:themeFamily xmlns:thm15="http://schemas.microsoft.com/office/thememl/2012/main" name="EON_Presentation.potx" id="{DF8E845A-5D12-4081-9F64-0316D9C40326}" vid="{18658613-AEAC-420B-BBCC-8E65C7B71D73}"/>
    </a:ext>
  </a:extLst>
</a:theme>
</file>

<file path=ppt/theme/theme2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.ON 2024-03-22">
      <a:dk1>
        <a:srgbClr val="1A1A1A"/>
      </a:dk1>
      <a:lt1>
        <a:srgbClr val="FFFFFF"/>
      </a:lt1>
      <a:dk2>
        <a:srgbClr val="1A1A1A"/>
      </a:dk2>
      <a:lt2>
        <a:srgbClr val="FFFFFF"/>
      </a:lt2>
      <a:accent1>
        <a:srgbClr val="EA1B0A"/>
      </a:accent1>
      <a:accent2>
        <a:srgbClr val="9D1207"/>
      </a:accent2>
      <a:accent3>
        <a:srgbClr val="F05B48"/>
      </a:accent3>
      <a:accent4>
        <a:srgbClr val="F6C1B0"/>
      </a:accent4>
      <a:accent5>
        <a:srgbClr val="961482"/>
      </a:accent5>
      <a:accent6>
        <a:srgbClr val="CA6FBA"/>
      </a:accent6>
      <a:hlink>
        <a:srgbClr val="1A1A1A"/>
      </a:hlink>
      <a:folHlink>
        <a:srgbClr val="1A1A1A"/>
      </a:folHlink>
    </a:clrScheme>
    <a:fontScheme name="Benutzerdefiniert 45">
      <a:majorFont>
        <a:latin typeface="EON Brix Sans"/>
        <a:ea typeface=""/>
        <a:cs typeface=""/>
      </a:majorFont>
      <a:minorFont>
        <a:latin typeface="EON Bri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2E56161DB05C4488188F41286798B95" ma:contentTypeVersion="14" ma:contentTypeDescription="Create a new document." ma:contentTypeScope="" ma:versionID="653140344680330b162409660598db4d">
  <xsd:schema xmlns:xsd="http://www.w3.org/2001/XMLSchema" xmlns:xs="http://www.w3.org/2001/XMLSchema" xmlns:p="http://schemas.microsoft.com/office/2006/metadata/properties" xmlns:ns2="ffd4968f-9387-4b8c-969c-1577143d9579" xmlns:ns3="808e7e3d-2c51-4b8d-87af-296daf512c60" targetNamespace="http://schemas.microsoft.com/office/2006/metadata/properties" ma:root="true" ma:fieldsID="d1638e970f3fc5ee02c6f453e32991d6" ns2:_="" ns3:_="">
    <xsd:import namespace="ffd4968f-9387-4b8c-969c-1577143d9579"/>
    <xsd:import namespace="808e7e3d-2c51-4b8d-87af-296daf512c6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d4968f-9387-4b8c-969c-1577143d957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50d7b7d2-ff73-4e2a-8bf5-1c01b67f84ca}" ma:internalName="TaxCatchAll" ma:showField="CatchAllData" ma:web="ffd4968f-9387-4b8c-969c-1577143d957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8e7e3d-2c51-4b8d-87af-296daf512c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d2bc115-f314-4df2-a102-4eef0e49787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08e7e3d-2c51-4b8d-87af-296daf512c60">
      <Terms xmlns="http://schemas.microsoft.com/office/infopath/2007/PartnerControls"/>
    </lcf76f155ced4ddcb4097134ff3c332f>
    <TaxCatchAll xmlns="ffd4968f-9387-4b8c-969c-1577143d9579" xsi:nil="true"/>
    <SharedWithUsers xmlns="ffd4968f-9387-4b8c-969c-1577143d9579">
      <UserInfo>
        <DisplayName>Sebastian Emmel (Peter Schmidt Group)</DisplayName>
        <AccountId>20</AccountId>
        <AccountType/>
      </UserInfo>
      <UserInfo>
        <DisplayName>Fabio Prata (Peter Schmidt Group)</DisplayName>
        <AccountId>28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9575DA2-38B3-4D6C-BE45-A5618476C8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1C67645-6295-45EF-8DA1-CA3F5B6FF0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d4968f-9387-4b8c-969c-1577143d9579"/>
    <ds:schemaRef ds:uri="808e7e3d-2c51-4b8d-87af-296daf512c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B9F5CF-2DCE-49DD-AA36-81101D395492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6bd85ca3-a648-4808-98f4-fd769bced636"/>
    <ds:schemaRef ds:uri="873adf82-8543-45de-ab67-3985070cb6ec"/>
    <ds:schemaRef ds:uri="http://purl.org/dc/elements/1.1/"/>
    <ds:schemaRef ds:uri="http://purl.org/dc/terms/"/>
    <ds:schemaRef ds:uri="http://schemas.openxmlformats.org/package/2006/metadata/core-properties"/>
    <ds:schemaRef ds:uri="http://www.w3.org/XML/1998/namespace"/>
    <ds:schemaRef ds:uri="808e7e3d-2c51-4b8d-87af-296daf512c60"/>
    <ds:schemaRef ds:uri="ffd4968f-9387-4b8c-969c-1577143d9579"/>
  </ds:schemaRefs>
</ds:datastoreItem>
</file>

<file path=docMetadata/LabelInfo.xml><?xml version="1.0" encoding="utf-8"?>
<clbl:labelList xmlns:clbl="http://schemas.microsoft.com/office/2020/mipLabelMetadata">
  <clbl:label id="{42f063bf-ce3a-473c-8609-3866002c85b0}" enabled="1" method="Standard" siteId="{b914a242-e718-443b-a47c-6b4c649d8c0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1706</TotalTime>
  <Words>834</Words>
  <Application>Microsoft Office PowerPoint</Application>
  <PresentationFormat>Widescreen</PresentationFormat>
  <Paragraphs>102</Paragraphs>
  <Slides>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EON Brix Sans</vt:lpstr>
      <vt:lpstr>Wingdings</vt:lpstr>
      <vt:lpstr>EON Office Head</vt:lpstr>
      <vt:lpstr>E.ON</vt:lpstr>
      <vt:lpstr>IGT173 – Gateway Delivery of RPC Data</vt:lpstr>
      <vt:lpstr>Background</vt:lpstr>
      <vt:lpstr>Workgroup considerations / recommendations</vt:lpstr>
      <vt:lpstr>Additional Workgroup Considerations</vt:lpstr>
      <vt:lpstr>Initial High-Level Testing Scenarios </vt:lpstr>
      <vt:lpstr>Business Rules Testing 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.ON PowerPoint</dc:title>
  <dc:creator>Dudley, Kirsty</dc:creator>
  <dc:description/>
  <cp:lastModifiedBy>Dudley, Kirsty</cp:lastModifiedBy>
  <cp:revision>3</cp:revision>
  <dcterms:created xsi:type="dcterms:W3CDTF">2024-06-28T12:32:07Z</dcterms:created>
  <dcterms:modified xsi:type="dcterms:W3CDTF">2024-07-15T12:1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E56161DB05C4488188F41286798B95</vt:lpwstr>
  </property>
  <property fmtid="{D5CDD505-2E9C-101B-9397-08002B2CF9AE}" pid="3" name="MediaServiceImageTags">
    <vt:lpwstr/>
  </property>
</Properties>
</file>